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6"/>
  </p:notesMasterIdLst>
  <p:sldIdLst>
    <p:sldId id="2146847371"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B4C987-5BD5-440E-A209-502D921D779F}" v="8" dt="2025-03-04T13:03:32.0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4" d="100"/>
          <a:sy n="64" d="100"/>
        </p:scale>
        <p:origin x="712" y="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C47AD3-7C4A-4BFA-864C-AF1DCB50B70F}" type="datetimeFigureOut">
              <a:rPr lang="en-GB" smtClean="0"/>
              <a:t>04/03/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AA0CB4-DB27-4F8E-BF54-F1604F2DF79D}" type="slidenum">
              <a:rPr lang="en-GB" smtClean="0"/>
              <a:t>‹#›</a:t>
            </a:fld>
            <a:endParaRPr lang="en-GB"/>
          </a:p>
        </p:txBody>
      </p:sp>
    </p:spTree>
    <p:extLst>
      <p:ext uri="{BB962C8B-B14F-4D97-AF65-F5344CB8AC3E}">
        <p14:creationId xmlns:p14="http://schemas.microsoft.com/office/powerpoint/2010/main" val="30452099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endParaRPr lang="en-US"/>
          </a:p>
          <a:p>
            <a:pPr algn="l"/>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4D5310-F7AE-524C-B41C-D37C701895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87078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798B8D7C-5E9A-604B-B0B4-4659841D3463}"/>
              </a:ext>
            </a:extLst>
          </p:cNvPr>
          <p:cNvSpPr/>
          <p:nvPr userDrawn="1"/>
        </p:nvSpPr>
        <p:spPr>
          <a:xfrm>
            <a:off x="-1688576" y="5239943"/>
            <a:ext cx="8190978" cy="3680562"/>
          </a:xfrm>
          <a:prstGeom prst="ellipse">
            <a:avLst/>
          </a:prstGeom>
          <a:solidFill>
            <a:schemeClr val="bg2">
              <a:lumMod val="10000"/>
              <a:alpha val="63000"/>
            </a:schemeClr>
          </a:solidFill>
          <a:ln>
            <a:noFill/>
          </a:ln>
          <a:effectLst>
            <a:softEdge rad="110011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Lato" panose="020F0502020204030203" pitchFamily="34" charset="77"/>
            </a:endParaRPr>
          </a:p>
        </p:txBody>
      </p:sp>
      <p:sp>
        <p:nvSpPr>
          <p:cNvPr id="12" name="Round Same Side Corner Rectangle 11">
            <a:extLst>
              <a:ext uri="{FF2B5EF4-FFF2-40B4-BE49-F238E27FC236}">
                <a16:creationId xmlns:a16="http://schemas.microsoft.com/office/drawing/2014/main" id="{EB7F51A4-CA10-F14F-8D45-CDB30E11478E}"/>
              </a:ext>
            </a:extLst>
          </p:cNvPr>
          <p:cNvSpPr/>
          <p:nvPr userDrawn="1"/>
        </p:nvSpPr>
        <p:spPr>
          <a:xfrm rot="5400000">
            <a:off x="1077383" y="975783"/>
            <a:ext cx="3534833" cy="5689600"/>
          </a:xfrm>
          <a:prstGeom prst="round2SameRect">
            <a:avLst>
              <a:gd name="adj1" fmla="val 7549"/>
              <a:gd name="adj2"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Lato" panose="020F0502020204030203" pitchFamily="34" charset="77"/>
            </a:endParaRPr>
          </a:p>
        </p:txBody>
      </p:sp>
      <p:sp>
        <p:nvSpPr>
          <p:cNvPr id="3" name="Subtitle 2">
            <a:extLst>
              <a:ext uri="{FF2B5EF4-FFF2-40B4-BE49-F238E27FC236}">
                <a16:creationId xmlns:a16="http://schemas.microsoft.com/office/drawing/2014/main" id="{2E8F867C-F999-084D-A224-9ACB9411B8B1}"/>
              </a:ext>
            </a:extLst>
          </p:cNvPr>
          <p:cNvSpPr>
            <a:spLocks noGrp="1"/>
          </p:cNvSpPr>
          <p:nvPr>
            <p:ph type="subTitle" idx="1" hasCustomPrompt="1"/>
          </p:nvPr>
        </p:nvSpPr>
        <p:spPr>
          <a:xfrm>
            <a:off x="423046" y="4331666"/>
            <a:ext cx="4952701" cy="438873"/>
          </a:xfrm>
        </p:spPr>
        <p:txBody>
          <a:bodyPr/>
          <a:lstStyle>
            <a:lvl1pPr marL="0" indent="0" algn="l">
              <a:buNone/>
              <a:defRPr sz="2000" b="0" i="0">
                <a:solidFill>
                  <a:schemeClr val="bg1"/>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a:t>
            </a:r>
          </a:p>
        </p:txBody>
      </p:sp>
      <p:sp>
        <p:nvSpPr>
          <p:cNvPr id="7" name="Title 6">
            <a:extLst>
              <a:ext uri="{FF2B5EF4-FFF2-40B4-BE49-F238E27FC236}">
                <a16:creationId xmlns:a16="http://schemas.microsoft.com/office/drawing/2014/main" id="{BEC7BFE0-1AE3-484A-8128-9BDE0801F08D}"/>
              </a:ext>
            </a:extLst>
          </p:cNvPr>
          <p:cNvSpPr>
            <a:spLocks noGrp="1"/>
          </p:cNvSpPr>
          <p:nvPr>
            <p:ph type="title" hasCustomPrompt="1"/>
          </p:nvPr>
        </p:nvSpPr>
        <p:spPr>
          <a:xfrm>
            <a:off x="423046" y="2381609"/>
            <a:ext cx="4952701" cy="1833078"/>
          </a:xfrm>
        </p:spPr>
        <p:txBody>
          <a:bodyPr anchor="b"/>
          <a:lstStyle>
            <a:lvl1pPr>
              <a:defRPr b="0" i="0">
                <a:solidFill>
                  <a:schemeClr val="bg1"/>
                </a:solidFill>
                <a:latin typeface="Lato Light" panose="020F0302020204030203" pitchFamily="34" charset="77"/>
              </a:defRPr>
            </a:lvl1pPr>
          </a:lstStyle>
          <a:p>
            <a:r>
              <a:rPr lang="en-US"/>
              <a:t>Title here</a:t>
            </a:r>
          </a:p>
        </p:txBody>
      </p:sp>
      <p:sp>
        <p:nvSpPr>
          <p:cNvPr id="13" name="Oval 12">
            <a:extLst>
              <a:ext uri="{FF2B5EF4-FFF2-40B4-BE49-F238E27FC236}">
                <a16:creationId xmlns:a16="http://schemas.microsoft.com/office/drawing/2014/main" id="{1FA0FBC6-9F5E-C247-909F-0489C7943C39}"/>
              </a:ext>
            </a:extLst>
          </p:cNvPr>
          <p:cNvSpPr/>
          <p:nvPr userDrawn="1"/>
        </p:nvSpPr>
        <p:spPr>
          <a:xfrm>
            <a:off x="3170268" y="5452131"/>
            <a:ext cx="271738" cy="2717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2"/>
              </a:solidFill>
              <a:latin typeface="Lato" panose="020F0502020204030203" pitchFamily="34" charset="77"/>
            </a:endParaRPr>
          </a:p>
        </p:txBody>
      </p:sp>
      <p:sp>
        <p:nvSpPr>
          <p:cNvPr id="14" name="Oval 13">
            <a:extLst>
              <a:ext uri="{FF2B5EF4-FFF2-40B4-BE49-F238E27FC236}">
                <a16:creationId xmlns:a16="http://schemas.microsoft.com/office/drawing/2014/main" id="{95948AB2-5E5B-8140-AA38-EE93C438FB0D}"/>
              </a:ext>
            </a:extLst>
          </p:cNvPr>
          <p:cNvSpPr/>
          <p:nvPr userDrawn="1"/>
        </p:nvSpPr>
        <p:spPr>
          <a:xfrm>
            <a:off x="327827" y="1945670"/>
            <a:ext cx="271717" cy="271717"/>
          </a:xfrm>
          <a:prstGeom prst="ellipse">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2"/>
              </a:solidFill>
              <a:latin typeface="Lato" panose="020F0502020204030203" pitchFamily="34" charset="77"/>
            </a:endParaRPr>
          </a:p>
        </p:txBody>
      </p:sp>
      <p:sp>
        <p:nvSpPr>
          <p:cNvPr id="18" name="Content Placeholder 17">
            <a:extLst>
              <a:ext uri="{FF2B5EF4-FFF2-40B4-BE49-F238E27FC236}">
                <a16:creationId xmlns:a16="http://schemas.microsoft.com/office/drawing/2014/main" id="{A360A57E-2B86-B046-A51C-49F3CA02E1F9}"/>
              </a:ext>
            </a:extLst>
          </p:cNvPr>
          <p:cNvSpPr>
            <a:spLocks noGrp="1"/>
          </p:cNvSpPr>
          <p:nvPr>
            <p:ph sz="quarter" idx="10" hasCustomPrompt="1"/>
          </p:nvPr>
        </p:nvSpPr>
        <p:spPr>
          <a:xfrm>
            <a:off x="4126384" y="4887518"/>
            <a:ext cx="1249363" cy="352425"/>
          </a:xfrm>
        </p:spPr>
        <p:txBody>
          <a:bodyPr anchor="ctr"/>
          <a:lstStyle>
            <a:lvl1pPr marL="0" indent="0" algn="r">
              <a:buNone/>
              <a:defRPr sz="1000" b="0" i="0">
                <a:solidFill>
                  <a:schemeClr val="bg1"/>
                </a:solidFill>
                <a:latin typeface="Lato" panose="020F0502020204030203" pitchFamily="34" charset="77"/>
              </a:defRPr>
            </a:lvl1pPr>
          </a:lstStyle>
          <a:p>
            <a:pPr lvl="0"/>
            <a:r>
              <a:rPr lang="en-US"/>
              <a:t>Date</a:t>
            </a:r>
          </a:p>
        </p:txBody>
      </p:sp>
      <p:sp>
        <p:nvSpPr>
          <p:cNvPr id="24" name="TextBox 23">
            <a:extLst>
              <a:ext uri="{FF2B5EF4-FFF2-40B4-BE49-F238E27FC236}">
                <a16:creationId xmlns:a16="http://schemas.microsoft.com/office/drawing/2014/main" id="{ACC77E85-2FA7-8C4D-BE73-A826E03EDBE9}"/>
              </a:ext>
            </a:extLst>
          </p:cNvPr>
          <p:cNvSpPr txBox="1"/>
          <p:nvPr userDrawn="1"/>
        </p:nvSpPr>
        <p:spPr>
          <a:xfrm>
            <a:off x="244537" y="6454824"/>
            <a:ext cx="5131210" cy="307777"/>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Lato" panose="020F0502020204030203" pitchFamily="34" charset="77"/>
                <a:ea typeface="Segoe UI" panose="020B0502040204020203" pitchFamily="34" charset="0"/>
                <a:cs typeface="Segoe UI" panose="020B0502040204020203" pitchFamily="34" charset="0"/>
              </a:rPr>
              <a:t>This presentation contains confidential and proprietary information of Stericycle, Inc. and cannot be reproduced, </a:t>
            </a:r>
            <a:br>
              <a:rPr kumimoji="0" lang="en-US" sz="700" b="0" i="0" u="none" strike="noStrike" kern="1200" cap="none" spc="0" normalizeH="0" baseline="0" noProof="0">
                <a:ln>
                  <a:noFill/>
                </a:ln>
                <a:solidFill>
                  <a:schemeClr val="bg1"/>
                </a:solidFill>
                <a:effectLst/>
                <a:uLnTx/>
                <a:uFillTx/>
                <a:latin typeface="Lato" panose="020F0502020204030203" pitchFamily="34" charset="77"/>
                <a:ea typeface="Segoe UI" panose="020B0502040204020203" pitchFamily="34" charset="0"/>
                <a:cs typeface="Segoe UI" panose="020B0502040204020203" pitchFamily="34" charset="0"/>
              </a:rPr>
            </a:br>
            <a:r>
              <a:rPr kumimoji="0" lang="en-US" sz="700" b="0" i="0" u="none" strike="noStrike" kern="1200" cap="none" spc="0" normalizeH="0" baseline="0" noProof="0">
                <a:ln>
                  <a:noFill/>
                </a:ln>
                <a:solidFill>
                  <a:schemeClr val="bg1"/>
                </a:solidFill>
                <a:effectLst/>
                <a:uLnTx/>
                <a:uFillTx/>
                <a:latin typeface="Lato" panose="020F0502020204030203" pitchFamily="34" charset="77"/>
                <a:ea typeface="Segoe UI" panose="020B0502040204020203" pitchFamily="34" charset="0"/>
                <a:cs typeface="Segoe UI" panose="020B0502040204020203" pitchFamily="34" charset="0"/>
              </a:rPr>
              <a:t>printed or distributed without written consent from Stericycle. © 2022 Stericycle, Inc. All rights reserved. </a:t>
            </a:r>
          </a:p>
        </p:txBody>
      </p:sp>
    </p:spTree>
    <p:extLst>
      <p:ext uri="{BB962C8B-B14F-4D97-AF65-F5344CB8AC3E}">
        <p14:creationId xmlns:p14="http://schemas.microsoft.com/office/powerpoint/2010/main" val="5433380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With Content_no circles">
    <p:spTree>
      <p:nvGrpSpPr>
        <p:cNvPr id="1" name=""/>
        <p:cNvGrpSpPr/>
        <p:nvPr/>
      </p:nvGrpSpPr>
      <p:grpSpPr>
        <a:xfrm>
          <a:off x="0" y="0"/>
          <a:ext cx="0" cy="0"/>
          <a:chOff x="0" y="0"/>
          <a:chExt cx="0" cy="0"/>
        </a:xfrm>
      </p:grpSpPr>
      <p:pic>
        <p:nvPicPr>
          <p:cNvPr id="10" name="object 3">
            <a:extLst>
              <a:ext uri="{FF2B5EF4-FFF2-40B4-BE49-F238E27FC236}">
                <a16:creationId xmlns:a16="http://schemas.microsoft.com/office/drawing/2014/main" id="{60CA10A8-0E2F-774B-A176-DE46EE191B81}"/>
              </a:ext>
            </a:extLst>
          </p:cNvPr>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748074"/>
          </a:xfrm>
          <a:prstGeom prst="rect">
            <a:avLst/>
          </a:prstGeom>
          <a:solidFill>
            <a:schemeClr val="bg1"/>
          </a:solidFill>
          <a:ln>
            <a:noFill/>
          </a:ln>
        </p:spPr>
      </p:pic>
      <p:pic>
        <p:nvPicPr>
          <p:cNvPr id="8" name="Picture 7">
            <a:extLst>
              <a:ext uri="{FF2B5EF4-FFF2-40B4-BE49-F238E27FC236}">
                <a16:creationId xmlns:a16="http://schemas.microsoft.com/office/drawing/2014/main" id="{6995E4E2-B63A-E747-80C0-12315B18512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509678" y="6142284"/>
            <a:ext cx="1684513" cy="658189"/>
          </a:xfrm>
          <a:prstGeom prst="rect">
            <a:avLst/>
          </a:prstGeom>
        </p:spPr>
      </p:pic>
      <p:sp>
        <p:nvSpPr>
          <p:cNvPr id="9" name="TextBox 8">
            <a:extLst>
              <a:ext uri="{FF2B5EF4-FFF2-40B4-BE49-F238E27FC236}">
                <a16:creationId xmlns:a16="http://schemas.microsoft.com/office/drawing/2014/main" id="{C70AADCF-2103-6649-9EFD-53894553AB72}"/>
              </a:ext>
            </a:extLst>
          </p:cNvPr>
          <p:cNvSpPr txBox="1"/>
          <p:nvPr userDrawn="1"/>
        </p:nvSpPr>
        <p:spPr>
          <a:xfrm>
            <a:off x="3890807" y="6524625"/>
            <a:ext cx="2560320" cy="80791"/>
          </a:xfrm>
          <a:prstGeom prst="rect">
            <a:avLst/>
          </a:prstGeom>
          <a:noFill/>
        </p:spPr>
        <p:txBody>
          <a:bodyPr wrap="square" lIns="0" tIns="0" rIns="0" bIns="0" rtlCol="0">
            <a:spAutoFit/>
          </a:bodyPr>
          <a:lstStyle/>
          <a:p>
            <a:pPr algn="ctr"/>
            <a:r>
              <a:rPr lang="en-US" sz="525">
                <a:solidFill>
                  <a:schemeClr val="bg1">
                    <a:lumMod val="65000"/>
                  </a:schemeClr>
                </a:solidFill>
              </a:rPr>
              <a:t>Confidential and proprietary information. © 2022 Stericycle, Inc. All rights reserved.</a:t>
            </a:r>
          </a:p>
        </p:txBody>
      </p:sp>
    </p:spTree>
    <p:extLst>
      <p:ext uri="{BB962C8B-B14F-4D97-AF65-F5344CB8AC3E}">
        <p14:creationId xmlns:p14="http://schemas.microsoft.com/office/powerpoint/2010/main" val="2623800325"/>
      </p:ext>
    </p:extLst>
  </p:cSld>
  <p:clrMapOvr>
    <a:masterClrMapping/>
  </p:clrMapOvr>
  <p:extLst>
    <p:ext uri="{DCECCB84-F9BA-43D5-87BE-67443E8EF086}">
      <p15:sldGuideLst xmlns:p15="http://schemas.microsoft.com/office/powerpoint/2012/main">
        <p15:guide id="1" orient="horz" pos="2880">
          <p15:clr>
            <a:srgbClr val="FBAE40"/>
          </p15:clr>
        </p15:guide>
        <p15:guide id="3" pos="51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With Content_no circles">
    <p:spTree>
      <p:nvGrpSpPr>
        <p:cNvPr id="1" name=""/>
        <p:cNvGrpSpPr/>
        <p:nvPr/>
      </p:nvGrpSpPr>
      <p:grpSpPr>
        <a:xfrm>
          <a:off x="0" y="0"/>
          <a:ext cx="0" cy="0"/>
          <a:chOff x="0" y="0"/>
          <a:chExt cx="0" cy="0"/>
        </a:xfrm>
      </p:grpSpPr>
      <p:pic>
        <p:nvPicPr>
          <p:cNvPr id="9" name="Picture Placeholder 13" descr="A collage of people&#10;&#10;Description automatically generated with medium confidence">
            <a:extLst>
              <a:ext uri="{FF2B5EF4-FFF2-40B4-BE49-F238E27FC236}">
                <a16:creationId xmlns:a16="http://schemas.microsoft.com/office/drawing/2014/main" id="{DDBAFE85-637A-0C43-A3A8-B95ACF0347C3}"/>
              </a:ext>
            </a:extLst>
          </p:cNvPr>
          <p:cNvPicPr>
            <a:picLocks noChangeAspect="1"/>
          </p:cNvPicPr>
          <p:nvPr userDrawn="1"/>
        </p:nvPicPr>
        <p:blipFill rotWithShape="1">
          <a:blip r:embed="rId2" cstate="print">
            <a:alphaModFix/>
            <a:extLst>
              <a:ext uri="{28A0092B-C50C-407E-A947-70E740481C1C}">
                <a14:useLocalDpi xmlns:a14="http://schemas.microsoft.com/office/drawing/2010/main"/>
              </a:ext>
            </a:extLst>
          </a:blip>
          <a:srcRect/>
          <a:stretch/>
        </p:blipFill>
        <p:spPr>
          <a:xfrm>
            <a:off x="0" y="9531"/>
            <a:ext cx="12192000" cy="6760032"/>
          </a:xfrm>
          <a:prstGeom prst="rect">
            <a:avLst/>
          </a:prstGeom>
          <a:solidFill>
            <a:schemeClr val="bg2"/>
          </a:solidFill>
        </p:spPr>
      </p:pic>
      <p:sp>
        <p:nvSpPr>
          <p:cNvPr id="2" name="Rectangle 1">
            <a:extLst>
              <a:ext uri="{FF2B5EF4-FFF2-40B4-BE49-F238E27FC236}">
                <a16:creationId xmlns:a16="http://schemas.microsoft.com/office/drawing/2014/main" id="{1051EBCA-B747-4645-B19D-75B0E5D42D68}"/>
              </a:ext>
            </a:extLst>
          </p:cNvPr>
          <p:cNvSpPr/>
          <p:nvPr userDrawn="1"/>
        </p:nvSpPr>
        <p:spPr>
          <a:xfrm>
            <a:off x="0" y="0"/>
            <a:ext cx="12210010" cy="6769563"/>
          </a:xfrm>
          <a:prstGeom prst="rect">
            <a:avLst/>
          </a:prstGeom>
          <a:solidFill>
            <a:schemeClr val="accent3">
              <a:alpha val="8908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2">
            <a:extLst>
              <a:ext uri="{FF2B5EF4-FFF2-40B4-BE49-F238E27FC236}">
                <a16:creationId xmlns:a16="http://schemas.microsoft.com/office/drawing/2014/main" id="{3CF861F4-14C3-B043-88F1-C5BA92CD5AF3}"/>
              </a:ext>
            </a:extLst>
          </p:cNvPr>
          <p:cNvSpPr>
            <a:spLocks noGrp="1"/>
          </p:cNvSpPr>
          <p:nvPr>
            <p:ph idx="1" hasCustomPrompt="1"/>
          </p:nvPr>
        </p:nvSpPr>
        <p:spPr>
          <a:xfrm>
            <a:off x="558947" y="1037853"/>
            <a:ext cx="10972800" cy="4329421"/>
          </a:xfrm>
          <a:prstGeom prst="rect">
            <a:avLst/>
          </a:prstGeom>
        </p:spPr>
        <p:txBody>
          <a:bodyPr vert="horz" lIns="0" tIns="0" rIns="0" bIns="0" rtlCol="0">
            <a:noAutofit/>
          </a:bodyPr>
          <a:lstStyle>
            <a:lvl1pPr>
              <a:defRPr b="0" i="0">
                <a:solidFill>
                  <a:schemeClr val="bg1"/>
                </a:solidFill>
                <a:latin typeface="Lato" panose="020F0502020204030203" pitchFamily="34" charset="77"/>
              </a:defRPr>
            </a:lvl1pPr>
            <a:lvl2pPr>
              <a:defRPr b="0" i="0">
                <a:solidFill>
                  <a:schemeClr val="bg1"/>
                </a:solidFill>
                <a:latin typeface="Lato" panose="020F0502020204030203" pitchFamily="34" charset="77"/>
              </a:defRPr>
            </a:lvl2pPr>
            <a:lvl3pPr>
              <a:defRPr b="0" i="0">
                <a:solidFill>
                  <a:schemeClr val="bg1"/>
                </a:solidFill>
                <a:latin typeface="Lato" panose="020F0502020204030203" pitchFamily="34" charset="77"/>
              </a:defRPr>
            </a:lvl3pPr>
            <a:lvl4pPr>
              <a:defRPr b="0" i="0">
                <a:solidFill>
                  <a:schemeClr val="bg1"/>
                </a:solidFill>
                <a:latin typeface="Lato" panose="020F0502020204030203" pitchFamily="34" charset="77"/>
              </a:defRPr>
            </a:lvl4pPr>
            <a:lvl5pPr>
              <a:defRPr b="0" i="0">
                <a:solidFill>
                  <a:schemeClr val="bg1"/>
                </a:solidFill>
                <a:latin typeface="Lato" panose="020F0502020204030203" pitchFamily="34" charset="77"/>
              </a:defRPr>
            </a:lvl5pPr>
          </a:lstStyle>
          <a:p>
            <a:pPr lvl="0"/>
            <a:r>
              <a:rPr lang="en-CA" noProof="0"/>
              <a:t>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21" name="Title 5">
            <a:extLst>
              <a:ext uri="{FF2B5EF4-FFF2-40B4-BE49-F238E27FC236}">
                <a16:creationId xmlns:a16="http://schemas.microsoft.com/office/drawing/2014/main" id="{6CAAD058-B903-E943-BEB8-D7662104A07C}"/>
              </a:ext>
            </a:extLst>
          </p:cNvPr>
          <p:cNvSpPr>
            <a:spLocks noGrp="1"/>
          </p:cNvSpPr>
          <p:nvPr>
            <p:ph type="title" hasCustomPrompt="1"/>
          </p:nvPr>
        </p:nvSpPr>
        <p:spPr>
          <a:xfrm>
            <a:off x="609600" y="9531"/>
            <a:ext cx="10972797" cy="984996"/>
          </a:xfrm>
        </p:spPr>
        <p:txBody>
          <a:bodyPr anchor="b" anchorCtr="0">
            <a:noAutofit/>
          </a:bodyPr>
          <a:lstStyle>
            <a:lvl1pPr>
              <a:defRPr b="0" i="0">
                <a:solidFill>
                  <a:schemeClr val="bg1"/>
                </a:solidFill>
                <a:latin typeface="Lato Light" panose="020F0302020204030203" pitchFamily="34" charset="77"/>
              </a:defRPr>
            </a:lvl1pPr>
          </a:lstStyle>
          <a:p>
            <a:r>
              <a:rPr lang="en-US"/>
              <a:t>Click to edit title</a:t>
            </a:r>
          </a:p>
        </p:txBody>
      </p:sp>
      <p:sp>
        <p:nvSpPr>
          <p:cNvPr id="26" name="Slide Number Placeholder 1">
            <a:extLst>
              <a:ext uri="{FF2B5EF4-FFF2-40B4-BE49-F238E27FC236}">
                <a16:creationId xmlns:a16="http://schemas.microsoft.com/office/drawing/2014/main" id="{C94203C0-B4CC-A84A-97E4-9D46285C0030}"/>
              </a:ext>
            </a:extLst>
          </p:cNvPr>
          <p:cNvSpPr>
            <a:spLocks noGrp="1"/>
          </p:cNvSpPr>
          <p:nvPr>
            <p:ph type="sldNum" sz="quarter" idx="31"/>
          </p:nvPr>
        </p:nvSpPr>
        <p:spPr>
          <a:xfrm>
            <a:off x="178381" y="6146586"/>
            <a:ext cx="380567" cy="376265"/>
          </a:xfrm>
          <a:prstGeom prst="rect">
            <a:avLst/>
          </a:prstGeom>
        </p:spPr>
        <p:txBody>
          <a:bodyPr/>
          <a:lstStyle>
            <a:lvl1pPr>
              <a:defRPr b="0" i="0">
                <a:solidFill>
                  <a:schemeClr val="bg1"/>
                </a:solidFill>
                <a:latin typeface="Lato" panose="020F0502020204030203" pitchFamily="34" charset="77"/>
              </a:defRPr>
            </a:lvl1pPr>
          </a:lstStyle>
          <a:p>
            <a:fld id="{B4DD8D71-BB03-9A49-92D5-DC3B01458EFA}" type="slidenum">
              <a:rPr lang="en-US" smtClean="0"/>
              <a:pPr/>
              <a:t>‹#›</a:t>
            </a:fld>
            <a:endParaRPr lang="en-US"/>
          </a:p>
        </p:txBody>
      </p:sp>
      <p:sp>
        <p:nvSpPr>
          <p:cNvPr id="7" name="Oval 6">
            <a:extLst>
              <a:ext uri="{FF2B5EF4-FFF2-40B4-BE49-F238E27FC236}">
                <a16:creationId xmlns:a16="http://schemas.microsoft.com/office/drawing/2014/main" id="{1119AF9A-F794-374B-85D9-C49874497B47}"/>
              </a:ext>
            </a:extLst>
          </p:cNvPr>
          <p:cNvSpPr/>
          <p:nvPr userDrawn="1"/>
        </p:nvSpPr>
        <p:spPr>
          <a:xfrm>
            <a:off x="178380" y="6142284"/>
            <a:ext cx="380567" cy="38056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text, clipart&#10;&#10;Description automatically generated">
            <a:extLst>
              <a:ext uri="{FF2B5EF4-FFF2-40B4-BE49-F238E27FC236}">
                <a16:creationId xmlns:a16="http://schemas.microsoft.com/office/drawing/2014/main" id="{6995E4E2-B63A-E747-80C0-12315B18512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75090" y="6275242"/>
            <a:ext cx="1338530" cy="380006"/>
          </a:xfrm>
          <a:prstGeom prst="rect">
            <a:avLst/>
          </a:prstGeom>
        </p:spPr>
      </p:pic>
      <p:sp>
        <p:nvSpPr>
          <p:cNvPr id="10" name="TextBox 9">
            <a:extLst>
              <a:ext uri="{FF2B5EF4-FFF2-40B4-BE49-F238E27FC236}">
                <a16:creationId xmlns:a16="http://schemas.microsoft.com/office/drawing/2014/main" id="{4FC5BC8B-9175-3244-9787-1C7F8C74F3B2}"/>
              </a:ext>
            </a:extLst>
          </p:cNvPr>
          <p:cNvSpPr txBox="1"/>
          <p:nvPr userDrawn="1"/>
        </p:nvSpPr>
        <p:spPr>
          <a:xfrm>
            <a:off x="4815840" y="6524625"/>
            <a:ext cx="2560320" cy="80791"/>
          </a:xfrm>
          <a:prstGeom prst="rect">
            <a:avLst/>
          </a:prstGeom>
          <a:noFill/>
        </p:spPr>
        <p:txBody>
          <a:bodyPr wrap="square" lIns="0" tIns="0" rIns="0" bIns="0" rtlCol="0">
            <a:spAutoFit/>
          </a:bodyPr>
          <a:lstStyle/>
          <a:p>
            <a:pPr algn="ctr"/>
            <a:r>
              <a:rPr lang="en-US" sz="525">
                <a:solidFill>
                  <a:schemeClr val="bg1">
                    <a:lumMod val="85000"/>
                  </a:schemeClr>
                </a:solidFill>
              </a:rPr>
              <a:t>Confidential and proprietary information. © 2022 Stericycle, Inc. All rights reserved.</a:t>
            </a:r>
          </a:p>
        </p:txBody>
      </p:sp>
    </p:spTree>
    <p:extLst>
      <p:ext uri="{BB962C8B-B14F-4D97-AF65-F5344CB8AC3E}">
        <p14:creationId xmlns:p14="http://schemas.microsoft.com/office/powerpoint/2010/main" val="4218509744"/>
      </p:ext>
    </p:extLst>
  </p:cSld>
  <p:clrMapOvr>
    <a:masterClrMapping/>
  </p:clrMapOvr>
  <p:extLst>
    <p:ext uri="{DCECCB84-F9BA-43D5-87BE-67443E8EF086}">
      <p15:sldGuideLst xmlns:p15="http://schemas.microsoft.com/office/powerpoint/2012/main">
        <p15:guide id="1" orient="horz" pos="2880">
          <p15:clr>
            <a:srgbClr val="FBAE40"/>
          </p15:clr>
        </p15:guide>
        <p15:guide id="3" pos="512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With Content_no circles">
    <p:spTree>
      <p:nvGrpSpPr>
        <p:cNvPr id="1" name=""/>
        <p:cNvGrpSpPr/>
        <p:nvPr/>
      </p:nvGrpSpPr>
      <p:grpSpPr>
        <a:xfrm>
          <a:off x="0" y="0"/>
          <a:ext cx="0" cy="0"/>
          <a:chOff x="0" y="0"/>
          <a:chExt cx="0" cy="0"/>
        </a:xfrm>
      </p:grpSpPr>
      <p:pic>
        <p:nvPicPr>
          <p:cNvPr id="9" name="Picture Placeholder 13">
            <a:extLst>
              <a:ext uri="{FF2B5EF4-FFF2-40B4-BE49-F238E27FC236}">
                <a16:creationId xmlns:a16="http://schemas.microsoft.com/office/drawing/2014/main" id="{DDBAFE85-637A-0C43-A3A8-B95ACF0347C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9531"/>
            <a:ext cx="12192000" cy="6760032"/>
          </a:xfrm>
          <a:prstGeom prst="rect">
            <a:avLst/>
          </a:prstGeom>
          <a:solidFill>
            <a:schemeClr val="bg2"/>
          </a:solidFill>
        </p:spPr>
      </p:pic>
      <p:sp>
        <p:nvSpPr>
          <p:cNvPr id="12" name="Rectangle 11">
            <a:extLst>
              <a:ext uri="{FF2B5EF4-FFF2-40B4-BE49-F238E27FC236}">
                <a16:creationId xmlns:a16="http://schemas.microsoft.com/office/drawing/2014/main" id="{0435C6E9-5BE3-0541-98F4-7C0858F2A2E8}"/>
              </a:ext>
            </a:extLst>
          </p:cNvPr>
          <p:cNvSpPr/>
          <p:nvPr userDrawn="1"/>
        </p:nvSpPr>
        <p:spPr>
          <a:xfrm>
            <a:off x="0" y="0"/>
            <a:ext cx="12210010" cy="6769563"/>
          </a:xfrm>
          <a:prstGeom prst="rect">
            <a:avLst/>
          </a:prstGeom>
          <a:solidFill>
            <a:schemeClr val="accent3">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2">
            <a:extLst>
              <a:ext uri="{FF2B5EF4-FFF2-40B4-BE49-F238E27FC236}">
                <a16:creationId xmlns:a16="http://schemas.microsoft.com/office/drawing/2014/main" id="{3CF861F4-14C3-B043-88F1-C5BA92CD5AF3}"/>
              </a:ext>
            </a:extLst>
          </p:cNvPr>
          <p:cNvSpPr>
            <a:spLocks noGrp="1"/>
          </p:cNvSpPr>
          <p:nvPr>
            <p:ph idx="1" hasCustomPrompt="1"/>
          </p:nvPr>
        </p:nvSpPr>
        <p:spPr>
          <a:xfrm>
            <a:off x="558947" y="1037853"/>
            <a:ext cx="10972800" cy="4329421"/>
          </a:xfrm>
          <a:prstGeom prst="rect">
            <a:avLst/>
          </a:prstGeom>
        </p:spPr>
        <p:txBody>
          <a:bodyPr vert="horz" lIns="0" tIns="0" rIns="0" bIns="0" rtlCol="0">
            <a:noAutofit/>
          </a:bodyPr>
          <a:lstStyle>
            <a:lvl1pPr>
              <a:defRPr b="0" i="0">
                <a:solidFill>
                  <a:schemeClr val="bg1"/>
                </a:solidFill>
                <a:latin typeface="Lato" panose="020F0502020204030203" pitchFamily="34" charset="77"/>
              </a:defRPr>
            </a:lvl1pPr>
            <a:lvl2pPr>
              <a:defRPr b="0" i="0">
                <a:solidFill>
                  <a:schemeClr val="bg1"/>
                </a:solidFill>
                <a:latin typeface="Lato" panose="020F0502020204030203" pitchFamily="34" charset="77"/>
              </a:defRPr>
            </a:lvl2pPr>
            <a:lvl3pPr>
              <a:defRPr b="0" i="0">
                <a:solidFill>
                  <a:schemeClr val="bg1"/>
                </a:solidFill>
                <a:latin typeface="Lato" panose="020F0502020204030203" pitchFamily="34" charset="77"/>
              </a:defRPr>
            </a:lvl3pPr>
            <a:lvl4pPr>
              <a:defRPr b="0" i="0">
                <a:solidFill>
                  <a:schemeClr val="bg1"/>
                </a:solidFill>
                <a:latin typeface="Lato" panose="020F0502020204030203" pitchFamily="34" charset="77"/>
              </a:defRPr>
            </a:lvl4pPr>
            <a:lvl5pPr>
              <a:defRPr b="0" i="0">
                <a:solidFill>
                  <a:schemeClr val="bg1"/>
                </a:solidFill>
                <a:latin typeface="Lato" panose="020F0502020204030203" pitchFamily="34" charset="77"/>
              </a:defRPr>
            </a:lvl5pPr>
          </a:lstStyle>
          <a:p>
            <a:pPr lvl="0"/>
            <a:r>
              <a:rPr lang="en-CA" noProof="0"/>
              <a:t>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21" name="Title 5">
            <a:extLst>
              <a:ext uri="{FF2B5EF4-FFF2-40B4-BE49-F238E27FC236}">
                <a16:creationId xmlns:a16="http://schemas.microsoft.com/office/drawing/2014/main" id="{6CAAD058-B903-E943-BEB8-D7662104A07C}"/>
              </a:ext>
            </a:extLst>
          </p:cNvPr>
          <p:cNvSpPr>
            <a:spLocks noGrp="1"/>
          </p:cNvSpPr>
          <p:nvPr>
            <p:ph type="title" hasCustomPrompt="1"/>
          </p:nvPr>
        </p:nvSpPr>
        <p:spPr>
          <a:xfrm>
            <a:off x="609600" y="9531"/>
            <a:ext cx="10972797" cy="984996"/>
          </a:xfrm>
        </p:spPr>
        <p:txBody>
          <a:bodyPr anchor="b" anchorCtr="0">
            <a:noAutofit/>
          </a:bodyPr>
          <a:lstStyle>
            <a:lvl1pPr>
              <a:defRPr b="0" i="0">
                <a:solidFill>
                  <a:schemeClr val="bg1"/>
                </a:solidFill>
                <a:latin typeface="Lato Light" panose="020F0302020204030203" pitchFamily="34" charset="77"/>
              </a:defRPr>
            </a:lvl1pPr>
          </a:lstStyle>
          <a:p>
            <a:r>
              <a:rPr lang="en-US"/>
              <a:t>Click to edit title</a:t>
            </a:r>
          </a:p>
        </p:txBody>
      </p:sp>
      <p:sp>
        <p:nvSpPr>
          <p:cNvPr id="26" name="Slide Number Placeholder 1">
            <a:extLst>
              <a:ext uri="{FF2B5EF4-FFF2-40B4-BE49-F238E27FC236}">
                <a16:creationId xmlns:a16="http://schemas.microsoft.com/office/drawing/2014/main" id="{C94203C0-B4CC-A84A-97E4-9D46285C0030}"/>
              </a:ext>
            </a:extLst>
          </p:cNvPr>
          <p:cNvSpPr>
            <a:spLocks noGrp="1"/>
          </p:cNvSpPr>
          <p:nvPr>
            <p:ph type="sldNum" sz="quarter" idx="31"/>
          </p:nvPr>
        </p:nvSpPr>
        <p:spPr>
          <a:xfrm>
            <a:off x="178381" y="6146586"/>
            <a:ext cx="380567" cy="376265"/>
          </a:xfrm>
          <a:prstGeom prst="rect">
            <a:avLst/>
          </a:prstGeom>
        </p:spPr>
        <p:txBody>
          <a:bodyPr/>
          <a:lstStyle>
            <a:lvl1pPr>
              <a:defRPr b="0" i="0">
                <a:solidFill>
                  <a:schemeClr val="bg1"/>
                </a:solidFill>
                <a:latin typeface="Lato" panose="020F0502020204030203" pitchFamily="34" charset="77"/>
              </a:defRPr>
            </a:lvl1pPr>
          </a:lstStyle>
          <a:p>
            <a:fld id="{B4DD8D71-BB03-9A49-92D5-DC3B01458EFA}" type="slidenum">
              <a:rPr lang="en-US" smtClean="0"/>
              <a:pPr/>
              <a:t>‹#›</a:t>
            </a:fld>
            <a:endParaRPr lang="en-US"/>
          </a:p>
        </p:txBody>
      </p:sp>
      <p:sp>
        <p:nvSpPr>
          <p:cNvPr id="7" name="Oval 6">
            <a:extLst>
              <a:ext uri="{FF2B5EF4-FFF2-40B4-BE49-F238E27FC236}">
                <a16:creationId xmlns:a16="http://schemas.microsoft.com/office/drawing/2014/main" id="{1119AF9A-F794-374B-85D9-C49874497B47}"/>
              </a:ext>
            </a:extLst>
          </p:cNvPr>
          <p:cNvSpPr/>
          <p:nvPr userDrawn="1"/>
        </p:nvSpPr>
        <p:spPr>
          <a:xfrm>
            <a:off x="178380" y="6142284"/>
            <a:ext cx="380567" cy="38056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text, clipart&#10;&#10;Description automatically generated">
            <a:extLst>
              <a:ext uri="{FF2B5EF4-FFF2-40B4-BE49-F238E27FC236}">
                <a16:creationId xmlns:a16="http://schemas.microsoft.com/office/drawing/2014/main" id="{6995E4E2-B63A-E747-80C0-12315B18512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75090" y="6275242"/>
            <a:ext cx="1338530" cy="380006"/>
          </a:xfrm>
          <a:prstGeom prst="rect">
            <a:avLst/>
          </a:prstGeom>
        </p:spPr>
      </p:pic>
      <p:sp>
        <p:nvSpPr>
          <p:cNvPr id="10" name="TextBox 9">
            <a:extLst>
              <a:ext uri="{FF2B5EF4-FFF2-40B4-BE49-F238E27FC236}">
                <a16:creationId xmlns:a16="http://schemas.microsoft.com/office/drawing/2014/main" id="{4FC5BC8B-9175-3244-9787-1C7F8C74F3B2}"/>
              </a:ext>
            </a:extLst>
          </p:cNvPr>
          <p:cNvSpPr txBox="1"/>
          <p:nvPr userDrawn="1"/>
        </p:nvSpPr>
        <p:spPr>
          <a:xfrm>
            <a:off x="4815840" y="6524625"/>
            <a:ext cx="2560320" cy="80791"/>
          </a:xfrm>
          <a:prstGeom prst="rect">
            <a:avLst/>
          </a:prstGeom>
          <a:noFill/>
        </p:spPr>
        <p:txBody>
          <a:bodyPr wrap="square" lIns="0" tIns="0" rIns="0" bIns="0" rtlCol="0">
            <a:spAutoFit/>
          </a:bodyPr>
          <a:lstStyle/>
          <a:p>
            <a:pPr algn="ctr"/>
            <a:r>
              <a:rPr lang="en-US" sz="525">
                <a:solidFill>
                  <a:schemeClr val="bg1">
                    <a:lumMod val="85000"/>
                  </a:schemeClr>
                </a:solidFill>
              </a:rPr>
              <a:t>Confidential and proprietary information. © 2022 Stericycle, Inc. All rights reserved.</a:t>
            </a:r>
          </a:p>
        </p:txBody>
      </p:sp>
    </p:spTree>
    <p:extLst>
      <p:ext uri="{BB962C8B-B14F-4D97-AF65-F5344CB8AC3E}">
        <p14:creationId xmlns:p14="http://schemas.microsoft.com/office/powerpoint/2010/main" val="2855970529"/>
      </p:ext>
    </p:extLst>
  </p:cSld>
  <p:clrMapOvr>
    <a:masterClrMapping/>
  </p:clrMapOvr>
  <p:extLst>
    <p:ext uri="{DCECCB84-F9BA-43D5-87BE-67443E8EF086}">
      <p15:sldGuideLst xmlns:p15="http://schemas.microsoft.com/office/powerpoint/2012/main">
        <p15:guide id="1" orient="horz" pos="2880">
          <p15:clr>
            <a:srgbClr val="FBAE40"/>
          </p15:clr>
        </p15:guide>
        <p15:guide id="3" pos="51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11" name="Text Placeholder 24">
            <a:extLst>
              <a:ext uri="{FF2B5EF4-FFF2-40B4-BE49-F238E27FC236}">
                <a16:creationId xmlns:a16="http://schemas.microsoft.com/office/drawing/2014/main" id="{23E428EA-42F1-E845-8D6E-847F347E06DF}"/>
              </a:ext>
            </a:extLst>
          </p:cNvPr>
          <p:cNvSpPr>
            <a:spLocks noGrp="1"/>
          </p:cNvSpPr>
          <p:nvPr>
            <p:ph type="body" sz="quarter" idx="11" hasCustomPrompt="1"/>
          </p:nvPr>
        </p:nvSpPr>
        <p:spPr>
          <a:xfrm>
            <a:off x="846896" y="1886129"/>
            <a:ext cx="3933448" cy="185740"/>
          </a:xfrm>
        </p:spPr>
        <p:txBody>
          <a:bodyPr/>
          <a:lstStyle>
            <a:lvl1pPr marL="0" indent="0" algn="l">
              <a:buNone/>
              <a:defRPr sz="1467" b="0" i="0">
                <a:solidFill>
                  <a:schemeClr val="tx1"/>
                </a:solidFill>
                <a:latin typeface="Lato" panose="020F0502020204030203" pitchFamily="34" charset="77"/>
                <a:ea typeface="Lato" panose="020F0502020204030203" pitchFamily="34" charset="77"/>
                <a:cs typeface="Lato" panose="020F0502020204030203" pitchFamily="34" charset="77"/>
              </a:defRPr>
            </a:lvl1pPr>
            <a:lvl2pPr marL="457178" indent="0" algn="ctr">
              <a:buNone/>
              <a:defRPr sz="1467">
                <a:solidFill>
                  <a:schemeClr val="bg1"/>
                </a:solidFill>
              </a:defRPr>
            </a:lvl2pPr>
            <a:lvl3pPr marL="914354" indent="0" algn="ctr">
              <a:buNone/>
              <a:defRPr sz="1467">
                <a:solidFill>
                  <a:schemeClr val="bg1"/>
                </a:solidFill>
              </a:defRPr>
            </a:lvl3pPr>
            <a:lvl4pPr marL="1371532" indent="0" algn="ctr">
              <a:buNone/>
              <a:defRPr sz="1467">
                <a:solidFill>
                  <a:schemeClr val="bg1"/>
                </a:solidFill>
              </a:defRPr>
            </a:lvl4pPr>
            <a:lvl5pPr marL="1828709" indent="0" algn="ctr">
              <a:buNone/>
              <a:defRPr sz="1467">
                <a:solidFill>
                  <a:schemeClr val="bg1"/>
                </a:solidFill>
              </a:defRPr>
            </a:lvl5pPr>
          </a:lstStyle>
          <a:p>
            <a:pPr lvl="0"/>
            <a:r>
              <a:rPr lang="en-US"/>
              <a:t>Get in Touch</a:t>
            </a:r>
          </a:p>
        </p:txBody>
      </p:sp>
      <p:sp>
        <p:nvSpPr>
          <p:cNvPr id="13" name="Title 1">
            <a:extLst>
              <a:ext uri="{FF2B5EF4-FFF2-40B4-BE49-F238E27FC236}">
                <a16:creationId xmlns:a16="http://schemas.microsoft.com/office/drawing/2014/main" id="{3D8BF3FD-A392-8B4D-B3E5-95B06D7AFE6E}"/>
              </a:ext>
            </a:extLst>
          </p:cNvPr>
          <p:cNvSpPr>
            <a:spLocks noGrp="1"/>
          </p:cNvSpPr>
          <p:nvPr>
            <p:ph type="title" hasCustomPrompt="1"/>
          </p:nvPr>
        </p:nvSpPr>
        <p:spPr>
          <a:xfrm>
            <a:off x="833049" y="0"/>
            <a:ext cx="3933449" cy="1682460"/>
          </a:xfrm>
        </p:spPr>
        <p:txBody>
          <a:bodyPr anchor="b"/>
          <a:lstStyle>
            <a:lvl1pPr>
              <a:defRPr sz="3600" b="0" i="0">
                <a:solidFill>
                  <a:schemeClr val="accent4"/>
                </a:solidFill>
                <a:latin typeface="Lato Light" panose="020F0302020204030203" pitchFamily="34" charset="77"/>
              </a:defRPr>
            </a:lvl1pPr>
          </a:lstStyle>
          <a:p>
            <a:r>
              <a:rPr lang="en-US"/>
              <a:t>Contact</a:t>
            </a:r>
          </a:p>
        </p:txBody>
      </p:sp>
      <p:sp>
        <p:nvSpPr>
          <p:cNvPr id="15" name="Slide Number Placeholder 1">
            <a:extLst>
              <a:ext uri="{FF2B5EF4-FFF2-40B4-BE49-F238E27FC236}">
                <a16:creationId xmlns:a16="http://schemas.microsoft.com/office/drawing/2014/main" id="{122EE9D4-D75E-3042-A385-DDE07F88E7CC}"/>
              </a:ext>
            </a:extLst>
          </p:cNvPr>
          <p:cNvSpPr>
            <a:spLocks noGrp="1"/>
          </p:cNvSpPr>
          <p:nvPr>
            <p:ph type="sldNum" sz="quarter" idx="31"/>
          </p:nvPr>
        </p:nvSpPr>
        <p:spPr>
          <a:xfrm>
            <a:off x="178381" y="6146586"/>
            <a:ext cx="380567" cy="376265"/>
          </a:xfrm>
          <a:prstGeom prst="rect">
            <a:avLst/>
          </a:prstGeom>
        </p:spPr>
        <p:txBody>
          <a:bodyPr/>
          <a:lstStyle>
            <a:lvl1pPr>
              <a:defRPr b="0" i="0">
                <a:latin typeface="Lato" panose="020F0502020204030203" pitchFamily="34" charset="77"/>
              </a:defRPr>
            </a:lvl1pPr>
          </a:lstStyle>
          <a:p>
            <a:fld id="{B4DD8D71-BB03-9A49-92D5-DC3B01458EFA}" type="slidenum">
              <a:rPr lang="en-US" smtClean="0"/>
              <a:pPr/>
              <a:t>‹#›</a:t>
            </a:fld>
            <a:endParaRPr lang="en-US"/>
          </a:p>
        </p:txBody>
      </p:sp>
      <p:sp>
        <p:nvSpPr>
          <p:cNvPr id="18" name="Picture Placeholder 13">
            <a:extLst>
              <a:ext uri="{FF2B5EF4-FFF2-40B4-BE49-F238E27FC236}">
                <a16:creationId xmlns:a16="http://schemas.microsoft.com/office/drawing/2014/main" id="{C1E0E83F-C4A7-E648-8320-6C83BBE5A48A}"/>
              </a:ext>
            </a:extLst>
          </p:cNvPr>
          <p:cNvSpPr>
            <a:spLocks noGrp="1" noChangeAspect="1"/>
          </p:cNvSpPr>
          <p:nvPr>
            <p:ph type="pic" sz="quarter" idx="12" hasCustomPrompt="1"/>
          </p:nvPr>
        </p:nvSpPr>
        <p:spPr>
          <a:xfrm>
            <a:off x="5092862" y="1871945"/>
            <a:ext cx="6684072" cy="3618594"/>
          </a:xfrm>
          <a:prstGeom prst="roundRect">
            <a:avLst>
              <a:gd name="adj" fmla="val 3314"/>
            </a:avLst>
          </a:prstGeom>
          <a:solidFill>
            <a:schemeClr val="bg2"/>
          </a:solidFill>
        </p:spPr>
        <p:txBody>
          <a:bodyPr lIns="0" tIns="0" rIns="0" bIns="0" anchor="ctr" anchorCtr="0">
            <a:normAutofit/>
          </a:bodyPr>
          <a:lstStyle>
            <a:lvl1pPr marL="0" indent="0" algn="ctr">
              <a:buNone/>
              <a:defRPr sz="1200" b="0" i="0">
                <a:latin typeface="Lato Light" panose="020F0302020204030203" pitchFamily="34" charset="77"/>
              </a:defRPr>
            </a:lvl1pPr>
          </a:lstStyle>
          <a:p>
            <a:r>
              <a:rPr lang="en-US"/>
              <a:t>Click to Insert Photo</a:t>
            </a:r>
          </a:p>
        </p:txBody>
      </p:sp>
      <p:sp>
        <p:nvSpPr>
          <p:cNvPr id="20" name="Google Shape;466;p37">
            <a:extLst>
              <a:ext uri="{FF2B5EF4-FFF2-40B4-BE49-F238E27FC236}">
                <a16:creationId xmlns:a16="http://schemas.microsoft.com/office/drawing/2014/main" id="{1DC5876F-DDA9-8D43-9B1F-640262CE8105}"/>
              </a:ext>
            </a:extLst>
          </p:cNvPr>
          <p:cNvSpPr txBox="1"/>
          <p:nvPr userDrawn="1"/>
        </p:nvSpPr>
        <p:spPr>
          <a:xfrm>
            <a:off x="1513065" y="2622117"/>
            <a:ext cx="2115600" cy="4035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400" b="0" i="0">
                <a:solidFill>
                  <a:schemeClr val="accent4"/>
                </a:solidFill>
                <a:latin typeface="Lato" panose="020F0502020204030203" pitchFamily="34" charset="77"/>
                <a:ea typeface="Lato"/>
                <a:cs typeface="Lato"/>
                <a:sym typeface="Lato"/>
              </a:rPr>
              <a:t>Email</a:t>
            </a:r>
            <a:endParaRPr b="0" i="0">
              <a:solidFill>
                <a:schemeClr val="accent4"/>
              </a:solidFill>
              <a:latin typeface="Lato" panose="020F0502020204030203" pitchFamily="34" charset="77"/>
              <a:ea typeface="Lato"/>
              <a:cs typeface="Lato"/>
              <a:sym typeface="Lato"/>
            </a:endParaRPr>
          </a:p>
        </p:txBody>
      </p:sp>
      <p:sp>
        <p:nvSpPr>
          <p:cNvPr id="21" name="Google Shape;468;p37">
            <a:extLst>
              <a:ext uri="{FF2B5EF4-FFF2-40B4-BE49-F238E27FC236}">
                <a16:creationId xmlns:a16="http://schemas.microsoft.com/office/drawing/2014/main" id="{E79A48F8-A43C-5B4E-A626-1C9FFC27E7CE}"/>
              </a:ext>
            </a:extLst>
          </p:cNvPr>
          <p:cNvSpPr txBox="1"/>
          <p:nvPr userDrawn="1"/>
        </p:nvSpPr>
        <p:spPr>
          <a:xfrm>
            <a:off x="1513065" y="3264564"/>
            <a:ext cx="2115600" cy="4035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400" b="0" i="0">
                <a:solidFill>
                  <a:schemeClr val="accent4"/>
                </a:solidFill>
                <a:latin typeface="Lato" panose="020F0502020204030203" pitchFamily="34" charset="77"/>
                <a:ea typeface="Lato"/>
                <a:cs typeface="Lato"/>
                <a:sym typeface="Lato"/>
              </a:rPr>
              <a:t>Phone Number</a:t>
            </a:r>
            <a:endParaRPr b="0" i="0">
              <a:solidFill>
                <a:schemeClr val="accent4"/>
              </a:solidFill>
              <a:latin typeface="Lato" panose="020F0502020204030203" pitchFamily="34" charset="77"/>
              <a:ea typeface="Lato"/>
              <a:cs typeface="Lato"/>
              <a:sym typeface="Lato"/>
            </a:endParaRPr>
          </a:p>
        </p:txBody>
      </p:sp>
      <p:sp>
        <p:nvSpPr>
          <p:cNvPr id="22" name="Google Shape;470;p37">
            <a:extLst>
              <a:ext uri="{FF2B5EF4-FFF2-40B4-BE49-F238E27FC236}">
                <a16:creationId xmlns:a16="http://schemas.microsoft.com/office/drawing/2014/main" id="{2FC4F9D1-9BBA-F84C-BBA3-4B14B215AB38}"/>
              </a:ext>
            </a:extLst>
          </p:cNvPr>
          <p:cNvSpPr txBox="1"/>
          <p:nvPr userDrawn="1"/>
        </p:nvSpPr>
        <p:spPr>
          <a:xfrm>
            <a:off x="1513065" y="3898419"/>
            <a:ext cx="2115600" cy="4035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400" b="0" i="0">
                <a:solidFill>
                  <a:schemeClr val="accent4"/>
                </a:solidFill>
                <a:latin typeface="Lato" panose="020F0502020204030203" pitchFamily="34" charset="77"/>
                <a:ea typeface="Lato"/>
                <a:cs typeface="Lato"/>
                <a:sym typeface="Lato"/>
              </a:rPr>
              <a:t>Website</a:t>
            </a:r>
            <a:endParaRPr b="0" i="0">
              <a:solidFill>
                <a:schemeClr val="accent4"/>
              </a:solidFill>
              <a:latin typeface="Lato" panose="020F0502020204030203" pitchFamily="34" charset="77"/>
              <a:ea typeface="Lato"/>
              <a:cs typeface="Lato"/>
              <a:sym typeface="Lato"/>
            </a:endParaRPr>
          </a:p>
        </p:txBody>
      </p:sp>
      <p:sp>
        <p:nvSpPr>
          <p:cNvPr id="23" name="Text Placeholder 24">
            <a:extLst>
              <a:ext uri="{FF2B5EF4-FFF2-40B4-BE49-F238E27FC236}">
                <a16:creationId xmlns:a16="http://schemas.microsoft.com/office/drawing/2014/main" id="{EEF4CC9C-2C32-E745-9F88-4E15B349CE9E}"/>
              </a:ext>
            </a:extLst>
          </p:cNvPr>
          <p:cNvSpPr>
            <a:spLocks noGrp="1"/>
          </p:cNvSpPr>
          <p:nvPr>
            <p:ph type="body" sz="quarter" idx="32" hasCustomPrompt="1"/>
          </p:nvPr>
        </p:nvSpPr>
        <p:spPr>
          <a:xfrm>
            <a:off x="1627216" y="2963647"/>
            <a:ext cx="2724244" cy="185740"/>
          </a:xfrm>
        </p:spPr>
        <p:txBody>
          <a:bodyPr/>
          <a:lstStyle>
            <a:lvl1pPr marL="0" indent="0" algn="l">
              <a:buNone/>
              <a:defRPr sz="1000" b="0" i="0">
                <a:solidFill>
                  <a:schemeClr val="accent4"/>
                </a:solidFill>
                <a:latin typeface="Lato" panose="020F0502020204030203" pitchFamily="34" charset="77"/>
                <a:ea typeface="Lato" panose="020F0502020204030203" pitchFamily="34" charset="77"/>
                <a:cs typeface="Lato" panose="020F0502020204030203" pitchFamily="34" charset="77"/>
              </a:defRPr>
            </a:lvl1pPr>
            <a:lvl2pPr marL="457178" indent="0" algn="ctr">
              <a:buNone/>
              <a:defRPr sz="1467">
                <a:solidFill>
                  <a:schemeClr val="bg1"/>
                </a:solidFill>
              </a:defRPr>
            </a:lvl2pPr>
            <a:lvl3pPr marL="914354" indent="0" algn="ctr">
              <a:buNone/>
              <a:defRPr sz="1467">
                <a:solidFill>
                  <a:schemeClr val="bg1"/>
                </a:solidFill>
              </a:defRPr>
            </a:lvl3pPr>
            <a:lvl4pPr marL="1371532" indent="0" algn="ctr">
              <a:buNone/>
              <a:defRPr sz="1467">
                <a:solidFill>
                  <a:schemeClr val="bg1"/>
                </a:solidFill>
              </a:defRPr>
            </a:lvl4pPr>
            <a:lvl5pPr marL="1828709" indent="0" algn="ctr">
              <a:buNone/>
              <a:defRPr sz="1467">
                <a:solidFill>
                  <a:schemeClr val="bg1"/>
                </a:solidFill>
              </a:defRPr>
            </a:lvl5pPr>
          </a:lstStyle>
          <a:p>
            <a:pPr lvl="0"/>
            <a:r>
              <a:rPr lang="en-US"/>
              <a:t>Add email </a:t>
            </a:r>
          </a:p>
        </p:txBody>
      </p:sp>
      <p:sp>
        <p:nvSpPr>
          <p:cNvPr id="24" name="Text Placeholder 24">
            <a:extLst>
              <a:ext uri="{FF2B5EF4-FFF2-40B4-BE49-F238E27FC236}">
                <a16:creationId xmlns:a16="http://schemas.microsoft.com/office/drawing/2014/main" id="{D2B929AF-8617-6247-92E2-AC2393D88154}"/>
              </a:ext>
            </a:extLst>
          </p:cNvPr>
          <p:cNvSpPr>
            <a:spLocks noGrp="1"/>
          </p:cNvSpPr>
          <p:nvPr>
            <p:ph type="body" sz="quarter" idx="33" hasCustomPrompt="1"/>
          </p:nvPr>
        </p:nvSpPr>
        <p:spPr>
          <a:xfrm>
            <a:off x="1627216" y="3634978"/>
            <a:ext cx="2724244" cy="185740"/>
          </a:xfrm>
        </p:spPr>
        <p:txBody>
          <a:bodyPr/>
          <a:lstStyle>
            <a:lvl1pPr marL="0" indent="0" algn="l">
              <a:buNone/>
              <a:defRPr sz="1000" b="0" i="0">
                <a:solidFill>
                  <a:schemeClr val="accent4"/>
                </a:solidFill>
                <a:latin typeface="Lato" panose="020F0502020204030203" pitchFamily="34" charset="77"/>
                <a:ea typeface="Lato" panose="020F0502020204030203" pitchFamily="34" charset="77"/>
                <a:cs typeface="Lato" panose="020F0502020204030203" pitchFamily="34" charset="77"/>
              </a:defRPr>
            </a:lvl1pPr>
            <a:lvl2pPr marL="457178" indent="0" algn="ctr">
              <a:buNone/>
              <a:defRPr sz="1467">
                <a:solidFill>
                  <a:schemeClr val="bg1"/>
                </a:solidFill>
              </a:defRPr>
            </a:lvl2pPr>
            <a:lvl3pPr marL="914354" indent="0" algn="ctr">
              <a:buNone/>
              <a:defRPr sz="1467">
                <a:solidFill>
                  <a:schemeClr val="bg1"/>
                </a:solidFill>
              </a:defRPr>
            </a:lvl3pPr>
            <a:lvl4pPr marL="1371532" indent="0" algn="ctr">
              <a:buNone/>
              <a:defRPr sz="1467">
                <a:solidFill>
                  <a:schemeClr val="bg1"/>
                </a:solidFill>
              </a:defRPr>
            </a:lvl4pPr>
            <a:lvl5pPr marL="1828709" indent="0" algn="ctr">
              <a:buNone/>
              <a:defRPr sz="1467">
                <a:solidFill>
                  <a:schemeClr val="bg1"/>
                </a:solidFill>
              </a:defRPr>
            </a:lvl5pPr>
          </a:lstStyle>
          <a:p>
            <a:pPr lvl="0"/>
            <a:r>
              <a:rPr lang="en-US"/>
              <a:t>Add Phone </a:t>
            </a:r>
          </a:p>
        </p:txBody>
      </p:sp>
      <p:sp>
        <p:nvSpPr>
          <p:cNvPr id="25" name="Text Placeholder 24">
            <a:extLst>
              <a:ext uri="{FF2B5EF4-FFF2-40B4-BE49-F238E27FC236}">
                <a16:creationId xmlns:a16="http://schemas.microsoft.com/office/drawing/2014/main" id="{F1C9BE05-0BAC-2844-87A0-4FB2564E8DFA}"/>
              </a:ext>
            </a:extLst>
          </p:cNvPr>
          <p:cNvSpPr>
            <a:spLocks noGrp="1"/>
          </p:cNvSpPr>
          <p:nvPr>
            <p:ph type="body" sz="quarter" idx="34" hasCustomPrompt="1"/>
          </p:nvPr>
        </p:nvSpPr>
        <p:spPr>
          <a:xfrm>
            <a:off x="1627216" y="4248436"/>
            <a:ext cx="2724244" cy="185740"/>
          </a:xfrm>
        </p:spPr>
        <p:txBody>
          <a:bodyPr/>
          <a:lstStyle>
            <a:lvl1pPr marL="0" indent="0" algn="l">
              <a:buNone/>
              <a:defRPr sz="1000" b="0" i="0">
                <a:solidFill>
                  <a:schemeClr val="accent4"/>
                </a:solidFill>
                <a:latin typeface="Lato" panose="020F0502020204030203" pitchFamily="34" charset="77"/>
                <a:ea typeface="Lato" panose="020F0502020204030203" pitchFamily="34" charset="77"/>
                <a:cs typeface="Lato" panose="020F0502020204030203" pitchFamily="34" charset="77"/>
              </a:defRPr>
            </a:lvl1pPr>
            <a:lvl2pPr marL="457178" indent="0" algn="ctr">
              <a:buNone/>
              <a:defRPr sz="1467">
                <a:solidFill>
                  <a:schemeClr val="bg1"/>
                </a:solidFill>
              </a:defRPr>
            </a:lvl2pPr>
            <a:lvl3pPr marL="914354" indent="0" algn="ctr">
              <a:buNone/>
              <a:defRPr sz="1467">
                <a:solidFill>
                  <a:schemeClr val="bg1"/>
                </a:solidFill>
              </a:defRPr>
            </a:lvl3pPr>
            <a:lvl4pPr marL="1371532" indent="0" algn="ctr">
              <a:buNone/>
              <a:defRPr sz="1467">
                <a:solidFill>
                  <a:schemeClr val="bg1"/>
                </a:solidFill>
              </a:defRPr>
            </a:lvl4pPr>
            <a:lvl5pPr marL="1828709" indent="0" algn="ctr">
              <a:buNone/>
              <a:defRPr sz="1467">
                <a:solidFill>
                  <a:schemeClr val="bg1"/>
                </a:solidFill>
              </a:defRPr>
            </a:lvl5pPr>
          </a:lstStyle>
          <a:p>
            <a:pPr lvl="0"/>
            <a:r>
              <a:rPr lang="en-US"/>
              <a:t>Add Website</a:t>
            </a:r>
          </a:p>
        </p:txBody>
      </p:sp>
      <p:pic>
        <p:nvPicPr>
          <p:cNvPr id="27" name="Graphic 26">
            <a:extLst>
              <a:ext uri="{FF2B5EF4-FFF2-40B4-BE49-F238E27FC236}">
                <a16:creationId xmlns:a16="http://schemas.microsoft.com/office/drawing/2014/main" id="{191F7973-B179-484F-B766-E883A877282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1538" y="4111744"/>
            <a:ext cx="277080" cy="277080"/>
          </a:xfrm>
          <a:prstGeom prst="rect">
            <a:avLst/>
          </a:prstGeom>
        </p:spPr>
      </p:pic>
      <p:pic>
        <p:nvPicPr>
          <p:cNvPr id="30" name="Graphic 29">
            <a:extLst>
              <a:ext uri="{FF2B5EF4-FFF2-40B4-BE49-F238E27FC236}">
                <a16:creationId xmlns:a16="http://schemas.microsoft.com/office/drawing/2014/main" id="{3A821BDB-F137-1842-A0CC-A478C3D8493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81621" y="2759679"/>
            <a:ext cx="356914" cy="356914"/>
          </a:xfrm>
          <a:prstGeom prst="rect">
            <a:avLst/>
          </a:prstGeom>
        </p:spPr>
      </p:pic>
      <p:pic>
        <p:nvPicPr>
          <p:cNvPr id="3" name="Graphic 2">
            <a:extLst>
              <a:ext uri="{FF2B5EF4-FFF2-40B4-BE49-F238E27FC236}">
                <a16:creationId xmlns:a16="http://schemas.microsoft.com/office/drawing/2014/main" id="{87657979-37F4-B741-BD0E-D0A7193F7188}"/>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80624" y="3425750"/>
            <a:ext cx="356915" cy="356915"/>
          </a:xfrm>
          <a:prstGeom prst="rect">
            <a:avLst/>
          </a:prstGeom>
        </p:spPr>
      </p:pic>
      <p:grpSp>
        <p:nvGrpSpPr>
          <p:cNvPr id="26" name="Group 25">
            <a:extLst>
              <a:ext uri="{FF2B5EF4-FFF2-40B4-BE49-F238E27FC236}">
                <a16:creationId xmlns:a16="http://schemas.microsoft.com/office/drawing/2014/main" id="{B593CB5C-14B6-BE4D-A6AE-4918B458FC57}"/>
              </a:ext>
            </a:extLst>
          </p:cNvPr>
          <p:cNvGrpSpPr/>
          <p:nvPr userDrawn="1"/>
        </p:nvGrpSpPr>
        <p:grpSpPr>
          <a:xfrm>
            <a:off x="10857421" y="-687789"/>
            <a:ext cx="1945392" cy="1985812"/>
            <a:chOff x="10857421" y="-687789"/>
            <a:chExt cx="1945392" cy="1985812"/>
          </a:xfrm>
        </p:grpSpPr>
        <p:grpSp>
          <p:nvGrpSpPr>
            <p:cNvPr id="28" name="Group 27">
              <a:extLst>
                <a:ext uri="{FF2B5EF4-FFF2-40B4-BE49-F238E27FC236}">
                  <a16:creationId xmlns:a16="http://schemas.microsoft.com/office/drawing/2014/main" id="{5B2CF49A-2B29-C241-B2F5-8B8EA35B9D40}"/>
                </a:ext>
              </a:extLst>
            </p:cNvPr>
            <p:cNvGrpSpPr/>
            <p:nvPr userDrawn="1"/>
          </p:nvGrpSpPr>
          <p:grpSpPr>
            <a:xfrm>
              <a:off x="10909213" y="-687789"/>
              <a:ext cx="1893600" cy="1985812"/>
              <a:chOff x="10909213" y="-687789"/>
              <a:chExt cx="1893600" cy="1985812"/>
            </a:xfrm>
          </p:grpSpPr>
          <p:sp>
            <p:nvSpPr>
              <p:cNvPr id="31" name="Google Shape;169;p28">
                <a:extLst>
                  <a:ext uri="{FF2B5EF4-FFF2-40B4-BE49-F238E27FC236}">
                    <a16:creationId xmlns:a16="http://schemas.microsoft.com/office/drawing/2014/main" id="{7EF87AFF-364C-A54C-8A5E-E2BA9BCA14DE}"/>
                  </a:ext>
                </a:extLst>
              </p:cNvPr>
              <p:cNvSpPr/>
              <p:nvPr userDrawn="1"/>
            </p:nvSpPr>
            <p:spPr>
              <a:xfrm rot="9388739">
                <a:off x="10909213" y="-687789"/>
                <a:ext cx="1893600" cy="1893600"/>
              </a:xfrm>
              <a:prstGeom prst="ellipse">
                <a:avLst/>
              </a:prstGeom>
              <a:noFill/>
              <a:ln w="9525" cap="flat" cmpd="sng">
                <a:solidFill>
                  <a:srgbClr val="FFBA3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173;p28">
                <a:extLst>
                  <a:ext uri="{FF2B5EF4-FFF2-40B4-BE49-F238E27FC236}">
                    <a16:creationId xmlns:a16="http://schemas.microsoft.com/office/drawing/2014/main" id="{0E926BDE-89B0-8341-A1E6-F77C6EC515F8}"/>
                  </a:ext>
                </a:extLst>
              </p:cNvPr>
              <p:cNvSpPr/>
              <p:nvPr userDrawn="1"/>
            </p:nvSpPr>
            <p:spPr>
              <a:xfrm rot="9388739">
                <a:off x="11753562" y="1093123"/>
                <a:ext cx="204900" cy="204900"/>
              </a:xfrm>
              <a:prstGeom prst="ellipse">
                <a:avLst/>
              </a:prstGeom>
              <a:solidFill>
                <a:srgbClr val="4BC4D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9" name="Google Shape;173;p28">
              <a:extLst>
                <a:ext uri="{FF2B5EF4-FFF2-40B4-BE49-F238E27FC236}">
                  <a16:creationId xmlns:a16="http://schemas.microsoft.com/office/drawing/2014/main" id="{EFA0050F-5852-0742-B66A-9B02AAD5CAB1}"/>
                </a:ext>
              </a:extLst>
            </p:cNvPr>
            <p:cNvSpPr/>
            <p:nvPr userDrawn="1"/>
          </p:nvSpPr>
          <p:spPr>
            <a:xfrm>
              <a:off x="10857421" y="346469"/>
              <a:ext cx="134454" cy="134454"/>
            </a:xfrm>
            <a:prstGeom prst="ellipse">
              <a:avLst/>
            </a:prstGeom>
            <a:solidFill>
              <a:schemeClr val="accent3">
                <a:alpha val="51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Tree>
    <p:extLst>
      <p:ext uri="{BB962C8B-B14F-4D97-AF65-F5344CB8AC3E}">
        <p14:creationId xmlns:p14="http://schemas.microsoft.com/office/powerpoint/2010/main" val="78542154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F18FBB6-DAB8-9945-A041-93BB5649BC2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Lato" panose="020F0502020204030203" pitchFamily="34" charset="77"/>
            </a:endParaRPr>
          </a:p>
        </p:txBody>
      </p:sp>
    </p:spTree>
    <p:extLst>
      <p:ext uri="{BB962C8B-B14F-4D97-AF65-F5344CB8AC3E}">
        <p14:creationId xmlns:p14="http://schemas.microsoft.com/office/powerpoint/2010/main" val="181937435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hree Circl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386980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With Content">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3CF861F4-14C3-B043-88F1-C5BA92CD5AF3}"/>
              </a:ext>
            </a:extLst>
          </p:cNvPr>
          <p:cNvSpPr>
            <a:spLocks noGrp="1"/>
          </p:cNvSpPr>
          <p:nvPr>
            <p:ph idx="1" hasCustomPrompt="1"/>
          </p:nvPr>
        </p:nvSpPr>
        <p:spPr>
          <a:xfrm>
            <a:off x="609600" y="1193800"/>
            <a:ext cx="10972800" cy="4329421"/>
          </a:xfrm>
          <a:prstGeom prst="rect">
            <a:avLst/>
          </a:prstGeom>
        </p:spPr>
        <p:txBody>
          <a:bodyPr vert="horz" lIns="0" tIns="0" rIns="0" bIns="0" rtlCol="0">
            <a:noAutofit/>
          </a:bodyPr>
          <a:lstStyle/>
          <a:p>
            <a:pPr lvl="0"/>
            <a:r>
              <a:rPr lang="en-CA" noProof="0"/>
              <a:t>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21" name="Title 5">
            <a:extLst>
              <a:ext uri="{FF2B5EF4-FFF2-40B4-BE49-F238E27FC236}">
                <a16:creationId xmlns:a16="http://schemas.microsoft.com/office/drawing/2014/main" id="{6CAAD058-B903-E943-BEB8-D7662104A07C}"/>
              </a:ext>
            </a:extLst>
          </p:cNvPr>
          <p:cNvSpPr>
            <a:spLocks noGrp="1"/>
          </p:cNvSpPr>
          <p:nvPr>
            <p:ph type="title" hasCustomPrompt="1"/>
          </p:nvPr>
        </p:nvSpPr>
        <p:spPr>
          <a:xfrm>
            <a:off x="609600" y="9531"/>
            <a:ext cx="10972797" cy="984996"/>
          </a:xfrm>
        </p:spPr>
        <p:txBody>
          <a:bodyPr anchor="b" anchorCtr="0">
            <a:noAutofit/>
          </a:bodyPr>
          <a:lstStyle/>
          <a:p>
            <a:r>
              <a:rPr lang="en-US"/>
              <a:t>Click to edit title</a:t>
            </a:r>
          </a:p>
        </p:txBody>
      </p:sp>
      <p:grpSp>
        <p:nvGrpSpPr>
          <p:cNvPr id="22" name="Group 21">
            <a:extLst>
              <a:ext uri="{FF2B5EF4-FFF2-40B4-BE49-F238E27FC236}">
                <a16:creationId xmlns:a16="http://schemas.microsoft.com/office/drawing/2014/main" id="{B94B5BBC-3A34-DE40-B57C-9EFEB7F51A92}"/>
              </a:ext>
            </a:extLst>
          </p:cNvPr>
          <p:cNvGrpSpPr/>
          <p:nvPr userDrawn="1"/>
        </p:nvGrpSpPr>
        <p:grpSpPr>
          <a:xfrm>
            <a:off x="10889618" y="-1355586"/>
            <a:ext cx="2622709" cy="2622709"/>
            <a:chOff x="10889618" y="-1355586"/>
            <a:chExt cx="2622709" cy="2622709"/>
          </a:xfrm>
        </p:grpSpPr>
        <p:sp>
          <p:nvSpPr>
            <p:cNvPr id="23" name="Google Shape;317;p34">
              <a:extLst>
                <a:ext uri="{FF2B5EF4-FFF2-40B4-BE49-F238E27FC236}">
                  <a16:creationId xmlns:a16="http://schemas.microsoft.com/office/drawing/2014/main" id="{5A48E3E1-46FD-3F48-87B0-48F0B0C4155F}"/>
                </a:ext>
              </a:extLst>
            </p:cNvPr>
            <p:cNvSpPr/>
            <p:nvPr userDrawn="1"/>
          </p:nvSpPr>
          <p:spPr>
            <a:xfrm rot="14913515">
              <a:off x="10889618" y="-1355586"/>
              <a:ext cx="2622709" cy="2622709"/>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4" name="Google Shape;318;p34">
              <a:extLst>
                <a:ext uri="{FF2B5EF4-FFF2-40B4-BE49-F238E27FC236}">
                  <a16:creationId xmlns:a16="http://schemas.microsoft.com/office/drawing/2014/main" id="{7215B474-37C1-354B-A14D-263A9A677C6D}"/>
                </a:ext>
              </a:extLst>
            </p:cNvPr>
            <p:cNvSpPr/>
            <p:nvPr userDrawn="1"/>
          </p:nvSpPr>
          <p:spPr>
            <a:xfrm rot="14913515">
              <a:off x="10936749" y="406951"/>
              <a:ext cx="101753" cy="103122"/>
            </a:xfrm>
            <a:prstGeom prst="ellipse">
              <a:avLst/>
            </a:prstGeom>
            <a:solidFill>
              <a:schemeClr val="accent2">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 name="Google Shape;318;p34">
              <a:extLst>
                <a:ext uri="{FF2B5EF4-FFF2-40B4-BE49-F238E27FC236}">
                  <a16:creationId xmlns:a16="http://schemas.microsoft.com/office/drawing/2014/main" id="{17910F38-576A-A94C-8708-3BB70011FEC7}"/>
                </a:ext>
              </a:extLst>
            </p:cNvPr>
            <p:cNvSpPr/>
            <p:nvPr userDrawn="1"/>
          </p:nvSpPr>
          <p:spPr>
            <a:xfrm rot="14913515">
              <a:off x="11532418" y="1049202"/>
              <a:ext cx="135511" cy="137335"/>
            </a:xfrm>
            <a:prstGeom prst="ellipse">
              <a:avLst/>
            </a:prstGeom>
            <a:solidFill>
              <a:schemeClr val="tx1">
                <a:alpha val="8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 name="Slide Number Placeholder 1">
            <a:extLst>
              <a:ext uri="{FF2B5EF4-FFF2-40B4-BE49-F238E27FC236}">
                <a16:creationId xmlns:a16="http://schemas.microsoft.com/office/drawing/2014/main" id="{1AB6600F-4867-8C40-A8B2-C47F7B9ABAFD}"/>
              </a:ext>
            </a:extLst>
          </p:cNvPr>
          <p:cNvSpPr>
            <a:spLocks noGrp="1"/>
          </p:cNvSpPr>
          <p:nvPr>
            <p:ph type="sldNum" sz="quarter" idx="10"/>
          </p:nvPr>
        </p:nvSpPr>
        <p:spPr/>
        <p:txBody>
          <a:bodyPr/>
          <a:lstStyle/>
          <a:p>
            <a:fld id="{844A7BE3-C3F0-B948-99CD-14097BE1855E}" type="slidenum">
              <a:rPr lang="en-US" smtClean="0"/>
              <a:pPr/>
              <a:t>‹#›</a:t>
            </a:fld>
            <a:endParaRPr lang="en-US"/>
          </a:p>
        </p:txBody>
      </p:sp>
    </p:spTree>
    <p:extLst>
      <p:ext uri="{BB962C8B-B14F-4D97-AF65-F5344CB8AC3E}">
        <p14:creationId xmlns:p14="http://schemas.microsoft.com/office/powerpoint/2010/main" val="1843825679"/>
      </p:ext>
    </p:extLst>
  </p:cSld>
  <p:clrMapOvr>
    <a:masterClrMapping/>
  </p:clrMapOvr>
  <p:extLst>
    <p:ext uri="{DCECCB84-F9BA-43D5-87BE-67443E8EF086}">
      <p15:sldGuideLst xmlns:p15="http://schemas.microsoft.com/office/powerpoint/2012/main">
        <p15:guide id="1" orient="horz" pos="2880">
          <p15:clr>
            <a:srgbClr val="FBAE40"/>
          </p15:clr>
        </p15:guide>
        <p15:guide id="3" pos="51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Meadow Tab with Callout">
    <p:spTree>
      <p:nvGrpSpPr>
        <p:cNvPr id="1" name=""/>
        <p:cNvGrpSpPr/>
        <p:nvPr/>
      </p:nvGrpSpPr>
      <p:grpSpPr>
        <a:xfrm>
          <a:off x="0" y="0"/>
          <a:ext cx="0" cy="0"/>
          <a:chOff x="0" y="0"/>
          <a:chExt cx="0" cy="0"/>
        </a:xfrm>
      </p:grpSpPr>
      <p:sp>
        <p:nvSpPr>
          <p:cNvPr id="12" name="Slide Number Placeholder 1">
            <a:extLst>
              <a:ext uri="{FF2B5EF4-FFF2-40B4-BE49-F238E27FC236}">
                <a16:creationId xmlns:a16="http://schemas.microsoft.com/office/drawing/2014/main" id="{EEEABAB4-3130-4146-8DC9-6917BB6F1FF4}"/>
              </a:ext>
            </a:extLst>
          </p:cNvPr>
          <p:cNvSpPr>
            <a:spLocks noGrp="1"/>
          </p:cNvSpPr>
          <p:nvPr>
            <p:ph type="sldNum" sz="quarter" idx="10"/>
          </p:nvPr>
        </p:nvSpPr>
        <p:spPr>
          <a:xfrm>
            <a:off x="171451" y="6464300"/>
            <a:ext cx="393700" cy="393700"/>
          </a:xfrm>
        </p:spPr>
        <p:txBody>
          <a:bodyPr/>
          <a:lstStyle>
            <a:lvl1pPr>
              <a:defRPr b="1" i="0">
                <a:latin typeface="Lato" panose="020F0502020204030203" pitchFamily="34" charset="77"/>
              </a:defRPr>
            </a:lvl1pPr>
          </a:lstStyle>
          <a:p>
            <a:fld id="{844A7BE3-C3F0-B948-99CD-14097BE1855E}" type="slidenum">
              <a:rPr lang="en-US" smtClean="0"/>
              <a:pPr/>
              <a:t>‹#›</a:t>
            </a:fld>
            <a:endParaRPr lang="en-US"/>
          </a:p>
        </p:txBody>
      </p:sp>
    </p:spTree>
    <p:extLst>
      <p:ext uri="{BB962C8B-B14F-4D97-AF65-F5344CB8AC3E}">
        <p14:creationId xmlns:p14="http://schemas.microsoft.com/office/powerpoint/2010/main" val="316498914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Oval 15">
            <a:extLst>
              <a:ext uri="{FF2B5EF4-FFF2-40B4-BE49-F238E27FC236}">
                <a16:creationId xmlns:a16="http://schemas.microsoft.com/office/drawing/2014/main" id="{BFC72231-A376-7141-9D61-69A67F2BB610}"/>
              </a:ext>
            </a:extLst>
          </p:cNvPr>
          <p:cNvSpPr/>
          <p:nvPr userDrawn="1"/>
        </p:nvSpPr>
        <p:spPr>
          <a:xfrm>
            <a:off x="-1586880" y="5017719"/>
            <a:ext cx="8190978" cy="3680562"/>
          </a:xfrm>
          <a:prstGeom prst="ellipse">
            <a:avLst/>
          </a:prstGeom>
          <a:solidFill>
            <a:schemeClr val="bg2">
              <a:lumMod val="10000"/>
              <a:alpha val="63000"/>
            </a:schemeClr>
          </a:solidFill>
          <a:ln>
            <a:noFill/>
          </a:ln>
          <a:effectLst>
            <a:softEdge rad="110011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Lato" panose="020F0502020204030203" pitchFamily="34" charset="77"/>
            </a:endParaRPr>
          </a:p>
        </p:txBody>
      </p:sp>
      <p:sp>
        <p:nvSpPr>
          <p:cNvPr id="12" name="Round Same Side Corner Rectangle 11">
            <a:extLst>
              <a:ext uri="{FF2B5EF4-FFF2-40B4-BE49-F238E27FC236}">
                <a16:creationId xmlns:a16="http://schemas.microsoft.com/office/drawing/2014/main" id="{EB7F51A4-CA10-F14F-8D45-CDB30E11478E}"/>
              </a:ext>
            </a:extLst>
          </p:cNvPr>
          <p:cNvSpPr/>
          <p:nvPr userDrawn="1"/>
        </p:nvSpPr>
        <p:spPr>
          <a:xfrm rot="5400000">
            <a:off x="975082" y="917726"/>
            <a:ext cx="3371644" cy="5321808"/>
          </a:xfrm>
          <a:prstGeom prst="round2SameRect">
            <a:avLst>
              <a:gd name="adj1" fmla="val 4937"/>
              <a:gd name="adj2"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Lato" panose="020F0502020204030203" pitchFamily="34" charset="77"/>
            </a:endParaRPr>
          </a:p>
        </p:txBody>
      </p:sp>
      <p:sp>
        <p:nvSpPr>
          <p:cNvPr id="3" name="Subtitle 2">
            <a:extLst>
              <a:ext uri="{FF2B5EF4-FFF2-40B4-BE49-F238E27FC236}">
                <a16:creationId xmlns:a16="http://schemas.microsoft.com/office/drawing/2014/main" id="{2E8F867C-F999-084D-A224-9ACB9411B8B1}"/>
              </a:ext>
            </a:extLst>
          </p:cNvPr>
          <p:cNvSpPr>
            <a:spLocks noGrp="1"/>
          </p:cNvSpPr>
          <p:nvPr>
            <p:ph type="subTitle" idx="1" hasCustomPrompt="1"/>
          </p:nvPr>
        </p:nvSpPr>
        <p:spPr>
          <a:xfrm>
            <a:off x="244537" y="4316152"/>
            <a:ext cx="4748087" cy="438873"/>
          </a:xfrm>
        </p:spPr>
        <p:txBody>
          <a:bodyPr/>
          <a:lstStyle>
            <a:lvl1pPr marL="0" indent="0" algn="l">
              <a:buNone/>
              <a:defRPr sz="2000" b="0" i="0">
                <a:solidFill>
                  <a:schemeClr val="bg1"/>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a:t>
            </a:r>
          </a:p>
        </p:txBody>
      </p:sp>
      <p:sp>
        <p:nvSpPr>
          <p:cNvPr id="7" name="Title 6">
            <a:extLst>
              <a:ext uri="{FF2B5EF4-FFF2-40B4-BE49-F238E27FC236}">
                <a16:creationId xmlns:a16="http://schemas.microsoft.com/office/drawing/2014/main" id="{BEC7BFE0-1AE3-484A-8128-9BDE0801F08D}"/>
              </a:ext>
            </a:extLst>
          </p:cNvPr>
          <p:cNvSpPr>
            <a:spLocks noGrp="1"/>
          </p:cNvSpPr>
          <p:nvPr>
            <p:ph type="title" hasCustomPrompt="1"/>
          </p:nvPr>
        </p:nvSpPr>
        <p:spPr>
          <a:xfrm>
            <a:off x="244537" y="2134633"/>
            <a:ext cx="4748087" cy="2044543"/>
          </a:xfrm>
        </p:spPr>
        <p:txBody>
          <a:bodyPr anchor="b"/>
          <a:lstStyle>
            <a:lvl1pPr>
              <a:defRPr b="0" i="0">
                <a:solidFill>
                  <a:schemeClr val="bg1"/>
                </a:solidFill>
                <a:latin typeface="Lato Light" panose="020F0302020204030203" pitchFamily="34" charset="77"/>
              </a:defRPr>
            </a:lvl1pPr>
          </a:lstStyle>
          <a:p>
            <a:r>
              <a:rPr lang="en-US"/>
              <a:t>Title here</a:t>
            </a:r>
          </a:p>
        </p:txBody>
      </p:sp>
      <p:sp>
        <p:nvSpPr>
          <p:cNvPr id="13" name="Oval 12">
            <a:extLst>
              <a:ext uri="{FF2B5EF4-FFF2-40B4-BE49-F238E27FC236}">
                <a16:creationId xmlns:a16="http://schemas.microsoft.com/office/drawing/2014/main" id="{1FA0FBC6-9F5E-C247-909F-0489C7943C39}"/>
              </a:ext>
            </a:extLst>
          </p:cNvPr>
          <p:cNvSpPr/>
          <p:nvPr userDrawn="1"/>
        </p:nvSpPr>
        <p:spPr>
          <a:xfrm>
            <a:off x="2618580" y="5126339"/>
            <a:ext cx="271738" cy="2717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2"/>
              </a:solidFill>
              <a:latin typeface="Lato" panose="020F0502020204030203" pitchFamily="34" charset="77"/>
            </a:endParaRPr>
          </a:p>
        </p:txBody>
      </p:sp>
      <p:sp>
        <p:nvSpPr>
          <p:cNvPr id="14" name="Oval 13">
            <a:extLst>
              <a:ext uri="{FF2B5EF4-FFF2-40B4-BE49-F238E27FC236}">
                <a16:creationId xmlns:a16="http://schemas.microsoft.com/office/drawing/2014/main" id="{95948AB2-5E5B-8140-AA38-EE93C438FB0D}"/>
              </a:ext>
            </a:extLst>
          </p:cNvPr>
          <p:cNvSpPr/>
          <p:nvPr userDrawn="1"/>
        </p:nvSpPr>
        <p:spPr>
          <a:xfrm>
            <a:off x="927737" y="1734428"/>
            <a:ext cx="271717" cy="271717"/>
          </a:xfrm>
          <a:prstGeom prst="ellipse">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solidFill>
                <a:schemeClr val="tx2"/>
              </a:solidFill>
              <a:latin typeface="Lato" panose="020F0502020204030203" pitchFamily="34" charset="77"/>
            </a:endParaRPr>
          </a:p>
        </p:txBody>
      </p:sp>
      <p:sp>
        <p:nvSpPr>
          <p:cNvPr id="18" name="Content Placeholder 17">
            <a:extLst>
              <a:ext uri="{FF2B5EF4-FFF2-40B4-BE49-F238E27FC236}">
                <a16:creationId xmlns:a16="http://schemas.microsoft.com/office/drawing/2014/main" id="{A360A57E-2B86-B046-A51C-49F3CA02E1F9}"/>
              </a:ext>
            </a:extLst>
          </p:cNvPr>
          <p:cNvSpPr>
            <a:spLocks noGrp="1"/>
          </p:cNvSpPr>
          <p:nvPr>
            <p:ph sz="quarter" idx="10" hasCustomPrompt="1"/>
          </p:nvPr>
        </p:nvSpPr>
        <p:spPr>
          <a:xfrm>
            <a:off x="3978846" y="4833526"/>
            <a:ext cx="1013778" cy="352425"/>
          </a:xfrm>
        </p:spPr>
        <p:txBody>
          <a:bodyPr anchor="ctr"/>
          <a:lstStyle>
            <a:lvl1pPr marL="0" indent="0" algn="r">
              <a:buNone/>
              <a:defRPr sz="1000" b="0" i="0">
                <a:solidFill>
                  <a:schemeClr val="bg1"/>
                </a:solidFill>
                <a:latin typeface="Lato" panose="020F0502020204030203" pitchFamily="34" charset="77"/>
              </a:defRPr>
            </a:lvl1pPr>
          </a:lstStyle>
          <a:p>
            <a:pPr lvl="0"/>
            <a:r>
              <a:rPr lang="en-US"/>
              <a:t>Date</a:t>
            </a:r>
          </a:p>
        </p:txBody>
      </p:sp>
      <p:sp>
        <p:nvSpPr>
          <p:cNvPr id="19" name="TextBox 18">
            <a:extLst>
              <a:ext uri="{FF2B5EF4-FFF2-40B4-BE49-F238E27FC236}">
                <a16:creationId xmlns:a16="http://schemas.microsoft.com/office/drawing/2014/main" id="{3FAB98EA-164C-A34C-B5F6-AABAE9B08271}"/>
              </a:ext>
            </a:extLst>
          </p:cNvPr>
          <p:cNvSpPr txBox="1"/>
          <p:nvPr userDrawn="1"/>
        </p:nvSpPr>
        <p:spPr>
          <a:xfrm>
            <a:off x="244537" y="6454824"/>
            <a:ext cx="5131210" cy="307777"/>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chemeClr val="bg1"/>
                </a:solidFill>
                <a:effectLst/>
                <a:uLnTx/>
                <a:uFillTx/>
                <a:latin typeface="Lato" panose="020F0502020204030203" pitchFamily="34" charset="77"/>
                <a:ea typeface="Segoe UI" panose="020B0502040204020203" pitchFamily="34" charset="0"/>
                <a:cs typeface="Segoe UI" panose="020B0502040204020203" pitchFamily="34" charset="0"/>
              </a:rPr>
              <a:t>This presentation contains confidential and proprietary information of Stericycle, Inc. and cannot be reproduced, </a:t>
            </a:r>
            <a:br>
              <a:rPr kumimoji="0" lang="en-US" sz="700" b="0" i="0" u="none" strike="noStrike" kern="1200" cap="none" spc="0" normalizeH="0" baseline="0" noProof="0">
                <a:ln>
                  <a:noFill/>
                </a:ln>
                <a:solidFill>
                  <a:schemeClr val="bg1"/>
                </a:solidFill>
                <a:effectLst/>
                <a:uLnTx/>
                <a:uFillTx/>
                <a:latin typeface="Lato" panose="020F0502020204030203" pitchFamily="34" charset="77"/>
                <a:ea typeface="Segoe UI" panose="020B0502040204020203" pitchFamily="34" charset="0"/>
                <a:cs typeface="Segoe UI" panose="020B0502040204020203" pitchFamily="34" charset="0"/>
              </a:rPr>
            </a:br>
            <a:r>
              <a:rPr kumimoji="0" lang="en-US" sz="700" b="0" i="0" u="none" strike="noStrike" kern="1200" cap="none" spc="0" normalizeH="0" baseline="0" noProof="0">
                <a:ln>
                  <a:noFill/>
                </a:ln>
                <a:solidFill>
                  <a:schemeClr val="bg1"/>
                </a:solidFill>
                <a:effectLst/>
                <a:uLnTx/>
                <a:uFillTx/>
                <a:latin typeface="Lato" panose="020F0502020204030203" pitchFamily="34" charset="77"/>
                <a:ea typeface="Segoe UI" panose="020B0502040204020203" pitchFamily="34" charset="0"/>
                <a:cs typeface="Segoe UI" panose="020B0502040204020203" pitchFamily="34" charset="0"/>
              </a:rPr>
              <a:t>printed or distributed without written consent from Stericycle. © 2021 Stericycle, Inc. All rights reserved. </a:t>
            </a:r>
          </a:p>
        </p:txBody>
      </p:sp>
    </p:spTree>
    <p:extLst>
      <p:ext uri="{BB962C8B-B14F-4D97-AF65-F5344CB8AC3E}">
        <p14:creationId xmlns:p14="http://schemas.microsoft.com/office/powerpoint/2010/main" val="2557032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_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0281BEEF-8FD3-C44D-96F2-2874B38BF402}"/>
              </a:ext>
            </a:extLst>
          </p:cNvPr>
          <p:cNvSpPr/>
          <p:nvPr userDrawn="1"/>
        </p:nvSpPr>
        <p:spPr>
          <a:xfrm>
            <a:off x="-1973625" y="5063730"/>
            <a:ext cx="8190978" cy="3680562"/>
          </a:xfrm>
          <a:prstGeom prst="ellipse">
            <a:avLst/>
          </a:prstGeom>
          <a:solidFill>
            <a:schemeClr val="bg2">
              <a:lumMod val="10000"/>
              <a:alpha val="63000"/>
            </a:schemeClr>
          </a:solidFill>
          <a:ln>
            <a:noFill/>
          </a:ln>
          <a:effectLst>
            <a:softEdge rad="110011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Lato" panose="020F0502020204030203" pitchFamily="34" charset="77"/>
            </a:endParaRPr>
          </a:p>
        </p:txBody>
      </p:sp>
    </p:spTree>
    <p:extLst>
      <p:ext uri="{BB962C8B-B14F-4D97-AF65-F5344CB8AC3E}">
        <p14:creationId xmlns:p14="http://schemas.microsoft.com/office/powerpoint/2010/main" val="37652220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lide_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3EA42F0-4596-D649-9384-C46057A97D37}"/>
              </a:ext>
            </a:extLst>
          </p:cNvPr>
          <p:cNvSpPr>
            <a:spLocks noGrp="1"/>
          </p:cNvSpPr>
          <p:nvPr>
            <p:ph type="ctrTitle"/>
          </p:nvPr>
        </p:nvSpPr>
        <p:spPr>
          <a:xfrm>
            <a:off x="427512" y="1650124"/>
            <a:ext cx="7247566" cy="1849329"/>
          </a:xfrm>
        </p:spPr>
        <p:txBody>
          <a:bodyPr lIns="0" tIns="0" rIns="0" bIns="0" anchor="b">
            <a:noAutofit/>
          </a:bodyPr>
          <a:lstStyle>
            <a:lvl1pPr algn="l">
              <a:defRPr sz="3600" b="0" i="0">
                <a:solidFill>
                  <a:schemeClr val="bg1"/>
                </a:solidFill>
                <a:latin typeface="Lato Light" panose="020F0302020204030203" pitchFamily="34" charset="77"/>
              </a:defRPr>
            </a:lvl1pPr>
          </a:lstStyle>
          <a:p>
            <a:r>
              <a:rPr lang="en-US"/>
              <a:t>Click to edit Master title style</a:t>
            </a:r>
          </a:p>
        </p:txBody>
      </p:sp>
      <p:sp>
        <p:nvSpPr>
          <p:cNvPr id="13" name="Subtitle 2">
            <a:extLst>
              <a:ext uri="{FF2B5EF4-FFF2-40B4-BE49-F238E27FC236}">
                <a16:creationId xmlns:a16="http://schemas.microsoft.com/office/drawing/2014/main" id="{5F4E24D1-2265-A247-B8AB-B4DBBBCD3415}"/>
              </a:ext>
            </a:extLst>
          </p:cNvPr>
          <p:cNvSpPr>
            <a:spLocks noGrp="1"/>
          </p:cNvSpPr>
          <p:nvPr>
            <p:ph type="subTitle" idx="1"/>
          </p:nvPr>
        </p:nvSpPr>
        <p:spPr>
          <a:xfrm>
            <a:off x="427512" y="3591528"/>
            <a:ext cx="7247566" cy="1106596"/>
          </a:xfrm>
        </p:spPr>
        <p:txBody>
          <a:bodyPr lIns="0" tIns="0" rIns="0" bIns="0">
            <a:noAutofit/>
          </a:bodyPr>
          <a:lstStyle>
            <a:lvl1pPr marL="0" indent="0" algn="l">
              <a:buNone/>
              <a:defRPr sz="2500" b="0" i="0">
                <a:solidFill>
                  <a:schemeClr val="bg1"/>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24234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lide_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43EA42F0-4596-D649-9384-C46057A97D37}"/>
              </a:ext>
            </a:extLst>
          </p:cNvPr>
          <p:cNvSpPr>
            <a:spLocks noGrp="1"/>
          </p:cNvSpPr>
          <p:nvPr>
            <p:ph type="ctrTitle"/>
          </p:nvPr>
        </p:nvSpPr>
        <p:spPr>
          <a:xfrm>
            <a:off x="427512" y="2330144"/>
            <a:ext cx="6100610" cy="1849329"/>
          </a:xfrm>
        </p:spPr>
        <p:txBody>
          <a:bodyPr lIns="0" tIns="0" rIns="0" bIns="0" anchor="b">
            <a:noAutofit/>
          </a:bodyPr>
          <a:lstStyle>
            <a:lvl1pPr algn="l">
              <a:defRPr sz="3600" b="0" i="0">
                <a:solidFill>
                  <a:schemeClr val="bg1"/>
                </a:solidFill>
                <a:latin typeface="Lato Light" panose="020F0302020204030203" pitchFamily="34" charset="77"/>
              </a:defRPr>
            </a:lvl1pPr>
          </a:lstStyle>
          <a:p>
            <a:r>
              <a:rPr lang="en-US"/>
              <a:t>Click to edit Master title style</a:t>
            </a:r>
          </a:p>
        </p:txBody>
      </p:sp>
      <p:sp>
        <p:nvSpPr>
          <p:cNvPr id="13" name="Subtitle 2">
            <a:extLst>
              <a:ext uri="{FF2B5EF4-FFF2-40B4-BE49-F238E27FC236}">
                <a16:creationId xmlns:a16="http://schemas.microsoft.com/office/drawing/2014/main" id="{5F4E24D1-2265-A247-B8AB-B4DBBBCD3415}"/>
              </a:ext>
            </a:extLst>
          </p:cNvPr>
          <p:cNvSpPr>
            <a:spLocks noGrp="1"/>
          </p:cNvSpPr>
          <p:nvPr>
            <p:ph type="subTitle" idx="1"/>
          </p:nvPr>
        </p:nvSpPr>
        <p:spPr>
          <a:xfrm>
            <a:off x="427512" y="4271548"/>
            <a:ext cx="6100610" cy="1106596"/>
          </a:xfrm>
        </p:spPr>
        <p:txBody>
          <a:bodyPr lIns="0" tIns="0" rIns="0" bIns="0">
            <a:noAutofit/>
          </a:bodyPr>
          <a:lstStyle>
            <a:lvl1pPr marL="0" indent="0" algn="l">
              <a:buNone/>
              <a:defRPr sz="2500" b="0" i="0">
                <a:solidFill>
                  <a:schemeClr val="bg1"/>
                </a:solidFill>
                <a:latin typeface="Lato" panose="020F050202020403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588306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ur Step Proces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424DF-EA95-A647-9C48-880D150DAD4E}"/>
              </a:ext>
            </a:extLst>
          </p:cNvPr>
          <p:cNvSpPr>
            <a:spLocks noGrp="1"/>
          </p:cNvSpPr>
          <p:nvPr>
            <p:ph type="title" hasCustomPrompt="1"/>
          </p:nvPr>
        </p:nvSpPr>
        <p:spPr>
          <a:xfrm>
            <a:off x="609601" y="1"/>
            <a:ext cx="11156673" cy="961845"/>
          </a:xfrm>
        </p:spPr>
        <p:txBody>
          <a:bodyPr/>
          <a:lstStyle>
            <a:lvl1pPr algn="ctr">
              <a:defRPr b="0" i="0">
                <a:latin typeface="Lato Light" panose="020F0302020204030203" pitchFamily="34" charset="77"/>
              </a:defRPr>
            </a:lvl1pPr>
          </a:lstStyle>
          <a:p>
            <a:r>
              <a:rPr lang="en-US"/>
              <a:t>Click to edit title</a:t>
            </a:r>
          </a:p>
        </p:txBody>
      </p:sp>
      <p:sp>
        <p:nvSpPr>
          <p:cNvPr id="3" name="Slide Number Placeholder 2">
            <a:extLst>
              <a:ext uri="{FF2B5EF4-FFF2-40B4-BE49-F238E27FC236}">
                <a16:creationId xmlns:a16="http://schemas.microsoft.com/office/drawing/2014/main" id="{6F90D352-53B3-5B49-A967-191F32A8ABBF}"/>
              </a:ext>
            </a:extLst>
          </p:cNvPr>
          <p:cNvSpPr>
            <a:spLocks noGrp="1"/>
          </p:cNvSpPr>
          <p:nvPr>
            <p:ph type="sldNum" sz="quarter" idx="10"/>
          </p:nvPr>
        </p:nvSpPr>
        <p:spPr>
          <a:xfrm>
            <a:off x="178381" y="6138956"/>
            <a:ext cx="380567" cy="376265"/>
          </a:xfrm>
          <a:prstGeom prst="rect">
            <a:avLst/>
          </a:prstGeom>
        </p:spPr>
        <p:txBody>
          <a:bodyPr/>
          <a:lstStyle>
            <a:lvl1pPr>
              <a:defRPr b="0" i="0">
                <a:latin typeface="Lato" panose="020F0502020204030203" pitchFamily="34" charset="77"/>
              </a:defRPr>
            </a:lvl1pPr>
          </a:lstStyle>
          <a:p>
            <a:fld id="{F15B2483-50F0-904C-A949-8215275C3B73}" type="slidenum">
              <a:rPr lang="en-US" smtClean="0"/>
              <a:pPr/>
              <a:t>‹#›</a:t>
            </a:fld>
            <a:endParaRPr lang="en-US"/>
          </a:p>
        </p:txBody>
      </p:sp>
      <p:sp>
        <p:nvSpPr>
          <p:cNvPr id="40" name="Picture Placeholder 4">
            <a:extLst>
              <a:ext uri="{FF2B5EF4-FFF2-40B4-BE49-F238E27FC236}">
                <a16:creationId xmlns:a16="http://schemas.microsoft.com/office/drawing/2014/main" id="{7D638817-34C6-EA4F-BA16-BCBC31377195}"/>
              </a:ext>
            </a:extLst>
          </p:cNvPr>
          <p:cNvSpPr>
            <a:spLocks noGrp="1"/>
          </p:cNvSpPr>
          <p:nvPr>
            <p:ph type="pic" sz="quarter" idx="12"/>
          </p:nvPr>
        </p:nvSpPr>
        <p:spPr>
          <a:xfrm>
            <a:off x="1923882" y="1559363"/>
            <a:ext cx="1386417" cy="1388533"/>
          </a:xfrm>
          <a:prstGeom prst="ellipse">
            <a:avLst/>
          </a:prstGeom>
          <a:noFill/>
          <a:ln w="12700">
            <a:noFill/>
          </a:ln>
        </p:spPr>
        <p:txBody>
          <a:bodyPr lIns="0" rIns="0"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Lato" panose="020F0502020204030203" pitchFamily="34" charset="77"/>
              </a:defRPr>
            </a:lvl1pPr>
          </a:lstStyle>
          <a:p>
            <a:endParaRPr lang="en-US"/>
          </a:p>
        </p:txBody>
      </p:sp>
      <p:sp>
        <p:nvSpPr>
          <p:cNvPr id="41" name="Text Placeholder 3">
            <a:extLst>
              <a:ext uri="{FF2B5EF4-FFF2-40B4-BE49-F238E27FC236}">
                <a16:creationId xmlns:a16="http://schemas.microsoft.com/office/drawing/2014/main" id="{3E457305-F678-804A-B408-507BAACBB3A6}"/>
              </a:ext>
            </a:extLst>
          </p:cNvPr>
          <p:cNvSpPr>
            <a:spLocks noGrp="1"/>
          </p:cNvSpPr>
          <p:nvPr>
            <p:ph type="body" sz="quarter" idx="21" hasCustomPrompt="1"/>
          </p:nvPr>
        </p:nvSpPr>
        <p:spPr>
          <a:xfrm>
            <a:off x="1665294" y="3206046"/>
            <a:ext cx="1903591" cy="2196052"/>
          </a:xfrm>
        </p:spPr>
        <p:txBody>
          <a:bodyPr/>
          <a:lstStyle>
            <a:lvl1pPr marL="0" indent="0" algn="ctr">
              <a:buNone/>
              <a:defRPr sz="1267" b="0" i="0">
                <a:latin typeface="Lato" panose="020F0502020204030203" pitchFamily="34" charset="77"/>
              </a:defRPr>
            </a:lvl1pPr>
          </a:lstStyle>
          <a:p>
            <a:pPr lvl="0"/>
            <a:r>
              <a:rPr lang="en-US"/>
              <a:t>Click to add text</a:t>
            </a:r>
          </a:p>
        </p:txBody>
      </p:sp>
      <p:sp>
        <p:nvSpPr>
          <p:cNvPr id="42" name="Text Placeholder 3">
            <a:extLst>
              <a:ext uri="{FF2B5EF4-FFF2-40B4-BE49-F238E27FC236}">
                <a16:creationId xmlns:a16="http://schemas.microsoft.com/office/drawing/2014/main" id="{D967CDBE-2BD1-9444-A296-77E4FF54A2A7}"/>
              </a:ext>
            </a:extLst>
          </p:cNvPr>
          <p:cNvSpPr>
            <a:spLocks noGrp="1"/>
          </p:cNvSpPr>
          <p:nvPr>
            <p:ph type="body" sz="quarter" idx="22" hasCustomPrompt="1"/>
          </p:nvPr>
        </p:nvSpPr>
        <p:spPr>
          <a:xfrm>
            <a:off x="3969752" y="3206046"/>
            <a:ext cx="1903591" cy="2196052"/>
          </a:xfrm>
        </p:spPr>
        <p:txBody>
          <a:bodyPr/>
          <a:lstStyle>
            <a:lvl1pPr marL="0" indent="0" algn="ctr">
              <a:buNone/>
              <a:defRPr sz="1267" b="0" i="0">
                <a:latin typeface="Lato" panose="020F0502020204030203" pitchFamily="34" charset="77"/>
              </a:defRPr>
            </a:lvl1pPr>
          </a:lstStyle>
          <a:p>
            <a:pPr lvl="0"/>
            <a:r>
              <a:rPr lang="en-US"/>
              <a:t>Click to add text</a:t>
            </a:r>
          </a:p>
        </p:txBody>
      </p:sp>
      <p:sp>
        <p:nvSpPr>
          <p:cNvPr id="43" name="Text Placeholder 3">
            <a:extLst>
              <a:ext uri="{FF2B5EF4-FFF2-40B4-BE49-F238E27FC236}">
                <a16:creationId xmlns:a16="http://schemas.microsoft.com/office/drawing/2014/main" id="{49F60A19-3D96-264C-97D4-0425A8E5BAE7}"/>
              </a:ext>
            </a:extLst>
          </p:cNvPr>
          <p:cNvSpPr>
            <a:spLocks noGrp="1"/>
          </p:cNvSpPr>
          <p:nvPr>
            <p:ph type="body" sz="quarter" idx="23" hasCustomPrompt="1"/>
          </p:nvPr>
        </p:nvSpPr>
        <p:spPr>
          <a:xfrm>
            <a:off x="6274211" y="3206046"/>
            <a:ext cx="1903591" cy="2196052"/>
          </a:xfrm>
        </p:spPr>
        <p:txBody>
          <a:bodyPr/>
          <a:lstStyle>
            <a:lvl1pPr marL="0" indent="0" algn="ctr">
              <a:buNone/>
              <a:defRPr sz="1267" b="0" i="0">
                <a:latin typeface="Lato" panose="020F0502020204030203" pitchFamily="34" charset="77"/>
              </a:defRPr>
            </a:lvl1pPr>
          </a:lstStyle>
          <a:p>
            <a:pPr lvl="0"/>
            <a:r>
              <a:rPr lang="en-US"/>
              <a:t>Click to add text</a:t>
            </a:r>
          </a:p>
        </p:txBody>
      </p:sp>
      <p:sp>
        <p:nvSpPr>
          <p:cNvPr id="44" name="Text Placeholder 3">
            <a:extLst>
              <a:ext uri="{FF2B5EF4-FFF2-40B4-BE49-F238E27FC236}">
                <a16:creationId xmlns:a16="http://schemas.microsoft.com/office/drawing/2014/main" id="{DFFF20DC-05AE-B640-A9BC-64817B3BB6E6}"/>
              </a:ext>
            </a:extLst>
          </p:cNvPr>
          <p:cNvSpPr>
            <a:spLocks noGrp="1"/>
          </p:cNvSpPr>
          <p:nvPr>
            <p:ph type="body" sz="quarter" idx="24" hasCustomPrompt="1"/>
          </p:nvPr>
        </p:nvSpPr>
        <p:spPr>
          <a:xfrm>
            <a:off x="8578670" y="3206046"/>
            <a:ext cx="1903591" cy="2196052"/>
          </a:xfrm>
        </p:spPr>
        <p:txBody>
          <a:bodyPr/>
          <a:lstStyle>
            <a:lvl1pPr marL="0" indent="0" algn="ctr">
              <a:buNone/>
              <a:defRPr sz="1267" b="0" i="0">
                <a:latin typeface="Lato" panose="020F0502020204030203" pitchFamily="34" charset="77"/>
              </a:defRPr>
            </a:lvl1pPr>
          </a:lstStyle>
          <a:p>
            <a:pPr lvl="0"/>
            <a:r>
              <a:rPr lang="en-US"/>
              <a:t>Click to add text</a:t>
            </a:r>
          </a:p>
        </p:txBody>
      </p:sp>
      <p:cxnSp>
        <p:nvCxnSpPr>
          <p:cNvPr id="45" name="Straight Connector 44">
            <a:extLst>
              <a:ext uri="{FF2B5EF4-FFF2-40B4-BE49-F238E27FC236}">
                <a16:creationId xmlns:a16="http://schemas.microsoft.com/office/drawing/2014/main" id="{04578285-1130-D34A-B21D-663274052762}"/>
              </a:ext>
            </a:extLst>
          </p:cNvPr>
          <p:cNvCxnSpPr>
            <a:cxnSpLocks/>
          </p:cNvCxnSpPr>
          <p:nvPr userDrawn="1"/>
        </p:nvCxnSpPr>
        <p:spPr>
          <a:xfrm flipH="1" flipV="1">
            <a:off x="8378235" y="2562577"/>
            <a:ext cx="1" cy="2839520"/>
          </a:xfrm>
          <a:prstGeom prst="line">
            <a:avLst/>
          </a:prstGeom>
          <a:ln w="158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0D784B3-E0CA-FD40-948D-16F1B9F4B9C9}"/>
              </a:ext>
            </a:extLst>
          </p:cNvPr>
          <p:cNvCxnSpPr>
            <a:cxnSpLocks/>
          </p:cNvCxnSpPr>
          <p:nvPr userDrawn="1"/>
        </p:nvCxnSpPr>
        <p:spPr>
          <a:xfrm flipH="1" flipV="1">
            <a:off x="6073777" y="2562577"/>
            <a:ext cx="1" cy="2839520"/>
          </a:xfrm>
          <a:prstGeom prst="line">
            <a:avLst/>
          </a:prstGeom>
          <a:ln w="158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E5C38EC-1459-3D4C-BF03-6C760D5E2578}"/>
              </a:ext>
            </a:extLst>
          </p:cNvPr>
          <p:cNvCxnSpPr>
            <a:cxnSpLocks/>
          </p:cNvCxnSpPr>
          <p:nvPr userDrawn="1"/>
        </p:nvCxnSpPr>
        <p:spPr>
          <a:xfrm flipH="1" flipV="1">
            <a:off x="3769318" y="2562577"/>
            <a:ext cx="1" cy="2839520"/>
          </a:xfrm>
          <a:prstGeom prst="line">
            <a:avLst/>
          </a:prstGeom>
          <a:ln w="1587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8" name="Picture Placeholder 4">
            <a:extLst>
              <a:ext uri="{FF2B5EF4-FFF2-40B4-BE49-F238E27FC236}">
                <a16:creationId xmlns:a16="http://schemas.microsoft.com/office/drawing/2014/main" id="{34E3E027-BAAA-894E-A398-4AB1ED2D616F}"/>
              </a:ext>
            </a:extLst>
          </p:cNvPr>
          <p:cNvSpPr>
            <a:spLocks noGrp="1"/>
          </p:cNvSpPr>
          <p:nvPr>
            <p:ph type="pic" sz="quarter" idx="30"/>
          </p:nvPr>
        </p:nvSpPr>
        <p:spPr>
          <a:xfrm>
            <a:off x="4228340" y="1559363"/>
            <a:ext cx="1386417" cy="1388533"/>
          </a:xfrm>
          <a:prstGeom prst="ellipse">
            <a:avLst/>
          </a:prstGeom>
          <a:noFill/>
          <a:ln w="12700">
            <a:noFill/>
          </a:ln>
        </p:spPr>
        <p:txBody>
          <a:bodyPr lIns="0" rIns="0"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Lato" panose="020F0502020204030203" pitchFamily="34" charset="77"/>
              </a:defRPr>
            </a:lvl1pPr>
          </a:lstStyle>
          <a:p>
            <a:endParaRPr lang="en-US"/>
          </a:p>
        </p:txBody>
      </p:sp>
      <p:sp>
        <p:nvSpPr>
          <p:cNvPr id="49" name="Picture Placeholder 4">
            <a:extLst>
              <a:ext uri="{FF2B5EF4-FFF2-40B4-BE49-F238E27FC236}">
                <a16:creationId xmlns:a16="http://schemas.microsoft.com/office/drawing/2014/main" id="{EF2E97E4-AA65-BB40-B022-D4EDF8DC0591}"/>
              </a:ext>
            </a:extLst>
          </p:cNvPr>
          <p:cNvSpPr>
            <a:spLocks noGrp="1"/>
          </p:cNvSpPr>
          <p:nvPr>
            <p:ph type="pic" sz="quarter" idx="31"/>
          </p:nvPr>
        </p:nvSpPr>
        <p:spPr>
          <a:xfrm>
            <a:off x="6532798" y="1559363"/>
            <a:ext cx="1386417" cy="1388533"/>
          </a:xfrm>
          <a:prstGeom prst="ellipse">
            <a:avLst/>
          </a:prstGeom>
          <a:noFill/>
          <a:ln w="12700">
            <a:noFill/>
          </a:ln>
        </p:spPr>
        <p:txBody>
          <a:bodyPr lIns="0" rIns="0"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accent3"/>
                </a:solidFill>
                <a:latin typeface="Lato" panose="020F0502020204030203" pitchFamily="34" charset="77"/>
              </a:defRPr>
            </a:lvl1pPr>
          </a:lstStyle>
          <a:p>
            <a:endParaRPr lang="en-US"/>
          </a:p>
        </p:txBody>
      </p:sp>
      <p:sp>
        <p:nvSpPr>
          <p:cNvPr id="50" name="Picture Placeholder 4">
            <a:extLst>
              <a:ext uri="{FF2B5EF4-FFF2-40B4-BE49-F238E27FC236}">
                <a16:creationId xmlns:a16="http://schemas.microsoft.com/office/drawing/2014/main" id="{4B6DE78B-F7D9-5343-9B77-E1E7BFB31DAA}"/>
              </a:ext>
            </a:extLst>
          </p:cNvPr>
          <p:cNvSpPr>
            <a:spLocks noGrp="1"/>
          </p:cNvSpPr>
          <p:nvPr>
            <p:ph type="pic" sz="quarter" idx="32"/>
          </p:nvPr>
        </p:nvSpPr>
        <p:spPr>
          <a:xfrm>
            <a:off x="8837256" y="1559363"/>
            <a:ext cx="1386417" cy="1388533"/>
          </a:xfrm>
          <a:prstGeom prst="ellipse">
            <a:avLst/>
          </a:prstGeom>
          <a:noFill/>
          <a:ln w="12700">
            <a:noFill/>
          </a:ln>
        </p:spPr>
        <p:txBody>
          <a:bodyPr lIns="0" rIns="0"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tx1"/>
                </a:solidFill>
                <a:latin typeface="Lato" panose="020F0502020204030203" pitchFamily="34" charset="77"/>
              </a:defRPr>
            </a:lvl1pPr>
          </a:lstStyle>
          <a:p>
            <a:endParaRPr lang="en-US"/>
          </a:p>
        </p:txBody>
      </p:sp>
      <p:sp>
        <p:nvSpPr>
          <p:cNvPr id="51" name="Picture Placeholder 57">
            <a:extLst>
              <a:ext uri="{FF2B5EF4-FFF2-40B4-BE49-F238E27FC236}">
                <a16:creationId xmlns:a16="http://schemas.microsoft.com/office/drawing/2014/main" id="{373B70E8-2A98-5842-A6B8-EAE47D1960F8}"/>
              </a:ext>
            </a:extLst>
          </p:cNvPr>
          <p:cNvSpPr txBox="1">
            <a:spLocks noChangeAspect="1"/>
          </p:cNvSpPr>
          <p:nvPr userDrawn="1"/>
        </p:nvSpPr>
        <p:spPr>
          <a:xfrm>
            <a:off x="3672480" y="2184594"/>
            <a:ext cx="182880" cy="182880"/>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lgn="l" defTabSz="914400" rtl="0" eaLnBrk="1" latinLnBrk="0" hangingPunct="1">
              <a:lnSpc>
                <a:spcPct val="90000"/>
              </a:lnSpc>
              <a:spcBef>
                <a:spcPts val="1000"/>
              </a:spcBef>
              <a:buFont typeface="Arial" panose="020B0604020202020204" pitchFamily="34" charset="0"/>
              <a:buNone/>
              <a:defRPr sz="2000" b="0" i="0" kern="1200">
                <a:solidFill>
                  <a:schemeClr val="accent4"/>
                </a:solidFill>
                <a:latin typeface="Lato" panose="020F0502020204030203" pitchFamily="34" charset="77"/>
                <a:ea typeface="+mn-ea"/>
                <a:cs typeface="+mn-cs"/>
              </a:defRPr>
            </a:lvl1pPr>
            <a:lvl2pPr marL="365760" indent="-182880" algn="l" defTabSz="914400" rtl="0" eaLnBrk="1" latinLnBrk="0" hangingPunct="1">
              <a:lnSpc>
                <a:spcPct val="90000"/>
              </a:lnSpc>
              <a:spcBef>
                <a:spcPts val="500"/>
              </a:spcBef>
              <a:buClr>
                <a:schemeClr val="accent4"/>
              </a:buClr>
              <a:buFont typeface="System Font Regular"/>
              <a:buChar char="-"/>
              <a:defRPr sz="1800" b="0" i="0" kern="1200">
                <a:solidFill>
                  <a:schemeClr val="accent4"/>
                </a:solidFill>
                <a:latin typeface="Lato" panose="020F0502020204030203" pitchFamily="34" charset="77"/>
                <a:ea typeface="+mn-ea"/>
                <a:cs typeface="+mn-cs"/>
              </a:defRPr>
            </a:lvl2pPr>
            <a:lvl3pPr marL="548640" indent="-182880" algn="l" defTabSz="914400" rtl="0" eaLnBrk="1" latinLnBrk="0" hangingPunct="1">
              <a:lnSpc>
                <a:spcPct val="90000"/>
              </a:lnSpc>
              <a:spcBef>
                <a:spcPts val="500"/>
              </a:spcBef>
              <a:buClr>
                <a:schemeClr val="accent4"/>
              </a:buClr>
              <a:buFont typeface="System Font Regular"/>
              <a:buChar char="-"/>
              <a:defRPr sz="1600" b="0" i="0" kern="1200">
                <a:solidFill>
                  <a:schemeClr val="accent4"/>
                </a:solidFill>
                <a:latin typeface="Lato" panose="020F0502020204030203" pitchFamily="34" charset="77"/>
                <a:ea typeface="+mn-ea"/>
                <a:cs typeface="+mn-cs"/>
              </a:defRPr>
            </a:lvl3pPr>
            <a:lvl4pPr marL="73152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4pPr>
            <a:lvl5pPr marL="91440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i="0">
                <a:latin typeface="Lato" panose="020F0502020204030203" pitchFamily="34" charset="77"/>
              </a:rPr>
              <a:t> </a:t>
            </a:r>
          </a:p>
        </p:txBody>
      </p:sp>
      <p:sp>
        <p:nvSpPr>
          <p:cNvPr id="52" name="Picture Placeholder 57">
            <a:extLst>
              <a:ext uri="{FF2B5EF4-FFF2-40B4-BE49-F238E27FC236}">
                <a16:creationId xmlns:a16="http://schemas.microsoft.com/office/drawing/2014/main" id="{2F12B5EA-4216-1F44-BEBB-34C3B4552ED3}"/>
              </a:ext>
            </a:extLst>
          </p:cNvPr>
          <p:cNvSpPr txBox="1">
            <a:spLocks noChangeAspect="1"/>
          </p:cNvSpPr>
          <p:nvPr userDrawn="1"/>
        </p:nvSpPr>
        <p:spPr>
          <a:xfrm>
            <a:off x="5982337" y="2184594"/>
            <a:ext cx="182880" cy="182880"/>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lgn="l" defTabSz="914400" rtl="0" eaLnBrk="1" latinLnBrk="0" hangingPunct="1">
              <a:lnSpc>
                <a:spcPct val="90000"/>
              </a:lnSpc>
              <a:spcBef>
                <a:spcPts val="1000"/>
              </a:spcBef>
              <a:buFont typeface="Arial" panose="020B0604020202020204" pitchFamily="34" charset="0"/>
              <a:buNone/>
              <a:defRPr sz="2000" b="0" i="0" kern="1200">
                <a:solidFill>
                  <a:schemeClr val="accent4"/>
                </a:solidFill>
                <a:latin typeface="Lato" panose="020F0502020204030203" pitchFamily="34" charset="77"/>
                <a:ea typeface="+mn-ea"/>
                <a:cs typeface="+mn-cs"/>
              </a:defRPr>
            </a:lvl1pPr>
            <a:lvl2pPr marL="365760" indent="-182880" algn="l" defTabSz="914400" rtl="0" eaLnBrk="1" latinLnBrk="0" hangingPunct="1">
              <a:lnSpc>
                <a:spcPct val="90000"/>
              </a:lnSpc>
              <a:spcBef>
                <a:spcPts val="500"/>
              </a:spcBef>
              <a:buClr>
                <a:schemeClr val="accent4"/>
              </a:buClr>
              <a:buFont typeface="System Font Regular"/>
              <a:buChar char="-"/>
              <a:defRPr sz="1800" b="0" i="0" kern="1200">
                <a:solidFill>
                  <a:schemeClr val="accent4"/>
                </a:solidFill>
                <a:latin typeface="Lato" panose="020F0502020204030203" pitchFamily="34" charset="77"/>
                <a:ea typeface="+mn-ea"/>
                <a:cs typeface="+mn-cs"/>
              </a:defRPr>
            </a:lvl2pPr>
            <a:lvl3pPr marL="548640" indent="-182880" algn="l" defTabSz="914400" rtl="0" eaLnBrk="1" latinLnBrk="0" hangingPunct="1">
              <a:lnSpc>
                <a:spcPct val="90000"/>
              </a:lnSpc>
              <a:spcBef>
                <a:spcPts val="500"/>
              </a:spcBef>
              <a:buClr>
                <a:schemeClr val="accent4"/>
              </a:buClr>
              <a:buFont typeface="System Font Regular"/>
              <a:buChar char="-"/>
              <a:defRPr sz="1600" b="0" i="0" kern="1200">
                <a:solidFill>
                  <a:schemeClr val="accent4"/>
                </a:solidFill>
                <a:latin typeface="Lato" panose="020F0502020204030203" pitchFamily="34" charset="77"/>
                <a:ea typeface="+mn-ea"/>
                <a:cs typeface="+mn-cs"/>
              </a:defRPr>
            </a:lvl3pPr>
            <a:lvl4pPr marL="73152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4pPr>
            <a:lvl5pPr marL="91440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i="0">
                <a:latin typeface="Lato" panose="020F0502020204030203" pitchFamily="34" charset="77"/>
              </a:rPr>
              <a:t> </a:t>
            </a:r>
          </a:p>
        </p:txBody>
      </p:sp>
      <p:sp>
        <p:nvSpPr>
          <p:cNvPr id="53" name="Picture Placeholder 57">
            <a:extLst>
              <a:ext uri="{FF2B5EF4-FFF2-40B4-BE49-F238E27FC236}">
                <a16:creationId xmlns:a16="http://schemas.microsoft.com/office/drawing/2014/main" id="{D79C77E9-7286-E248-9F29-62ED3786C465}"/>
              </a:ext>
            </a:extLst>
          </p:cNvPr>
          <p:cNvSpPr txBox="1">
            <a:spLocks noChangeAspect="1"/>
          </p:cNvSpPr>
          <p:nvPr userDrawn="1"/>
        </p:nvSpPr>
        <p:spPr>
          <a:xfrm>
            <a:off x="8286795" y="2184594"/>
            <a:ext cx="182880" cy="182880"/>
          </a:xfrm>
          <a:prstGeom prst="rect">
            <a:avLst/>
          </a:prstGeom>
          <a:blipFill>
            <a:blip r:embed="rId2">
              <a:extLst>
                <a:ext uri="{96DAC541-7B7A-43D3-8B79-37D633B846F1}">
                  <asvg:svgBlip xmlns:asvg="http://schemas.microsoft.com/office/drawing/2016/SVG/main" r:embed="rId3"/>
                </a:ext>
              </a:extLst>
            </a:blip>
            <a:stretch>
              <a:fillRect/>
            </a:stretch>
          </a:blipFill>
        </p:spPr>
        <p:txBody>
          <a:bodyPr/>
          <a:lstStyle>
            <a:lvl1pPr marL="0" indent="0" algn="l" defTabSz="914400" rtl="0" eaLnBrk="1" latinLnBrk="0" hangingPunct="1">
              <a:lnSpc>
                <a:spcPct val="90000"/>
              </a:lnSpc>
              <a:spcBef>
                <a:spcPts val="1000"/>
              </a:spcBef>
              <a:buFont typeface="Arial" panose="020B0604020202020204" pitchFamily="34" charset="0"/>
              <a:buNone/>
              <a:defRPr sz="2000" b="0" i="0" kern="1200">
                <a:solidFill>
                  <a:schemeClr val="accent4"/>
                </a:solidFill>
                <a:latin typeface="Lato" panose="020F0502020204030203" pitchFamily="34" charset="77"/>
                <a:ea typeface="+mn-ea"/>
                <a:cs typeface="+mn-cs"/>
              </a:defRPr>
            </a:lvl1pPr>
            <a:lvl2pPr marL="365760" indent="-182880" algn="l" defTabSz="914400" rtl="0" eaLnBrk="1" latinLnBrk="0" hangingPunct="1">
              <a:lnSpc>
                <a:spcPct val="90000"/>
              </a:lnSpc>
              <a:spcBef>
                <a:spcPts val="500"/>
              </a:spcBef>
              <a:buClr>
                <a:schemeClr val="accent4"/>
              </a:buClr>
              <a:buFont typeface="System Font Regular"/>
              <a:buChar char="-"/>
              <a:defRPr sz="1800" b="0" i="0" kern="1200">
                <a:solidFill>
                  <a:schemeClr val="accent4"/>
                </a:solidFill>
                <a:latin typeface="Lato" panose="020F0502020204030203" pitchFamily="34" charset="77"/>
                <a:ea typeface="+mn-ea"/>
                <a:cs typeface="+mn-cs"/>
              </a:defRPr>
            </a:lvl2pPr>
            <a:lvl3pPr marL="548640" indent="-182880" algn="l" defTabSz="914400" rtl="0" eaLnBrk="1" latinLnBrk="0" hangingPunct="1">
              <a:lnSpc>
                <a:spcPct val="90000"/>
              </a:lnSpc>
              <a:spcBef>
                <a:spcPts val="500"/>
              </a:spcBef>
              <a:buClr>
                <a:schemeClr val="accent4"/>
              </a:buClr>
              <a:buFont typeface="System Font Regular"/>
              <a:buChar char="-"/>
              <a:defRPr sz="1600" b="0" i="0" kern="1200">
                <a:solidFill>
                  <a:schemeClr val="accent4"/>
                </a:solidFill>
                <a:latin typeface="Lato" panose="020F0502020204030203" pitchFamily="34" charset="77"/>
                <a:ea typeface="+mn-ea"/>
                <a:cs typeface="+mn-cs"/>
              </a:defRPr>
            </a:lvl3pPr>
            <a:lvl4pPr marL="73152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4pPr>
            <a:lvl5pPr marL="91440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i="0">
                <a:latin typeface="Lato" panose="020F0502020204030203" pitchFamily="34" charset="77"/>
              </a:rPr>
              <a:t> </a:t>
            </a:r>
          </a:p>
        </p:txBody>
      </p:sp>
    </p:spTree>
    <p:extLst>
      <p:ext uri="{BB962C8B-B14F-4D97-AF65-F5344CB8AC3E}">
        <p14:creationId xmlns:p14="http://schemas.microsoft.com/office/powerpoint/2010/main" val="20125047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ircl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424DF-EA95-A647-9C48-880D150DAD4E}"/>
              </a:ext>
            </a:extLst>
          </p:cNvPr>
          <p:cNvSpPr>
            <a:spLocks noGrp="1"/>
          </p:cNvSpPr>
          <p:nvPr>
            <p:ph type="title" hasCustomPrompt="1"/>
          </p:nvPr>
        </p:nvSpPr>
        <p:spPr>
          <a:xfrm>
            <a:off x="609601" y="1"/>
            <a:ext cx="11156673" cy="961845"/>
          </a:xfrm>
        </p:spPr>
        <p:txBody>
          <a:bodyPr/>
          <a:lstStyle>
            <a:lvl1pPr algn="ctr">
              <a:defRPr b="0" i="0">
                <a:latin typeface="Lato Light" panose="020F0302020204030203" pitchFamily="34" charset="77"/>
              </a:defRPr>
            </a:lvl1pPr>
          </a:lstStyle>
          <a:p>
            <a:r>
              <a:rPr lang="en-US"/>
              <a:t>Click to edit title</a:t>
            </a:r>
          </a:p>
        </p:txBody>
      </p:sp>
      <p:sp>
        <p:nvSpPr>
          <p:cNvPr id="3" name="Slide Number Placeholder 2">
            <a:extLst>
              <a:ext uri="{FF2B5EF4-FFF2-40B4-BE49-F238E27FC236}">
                <a16:creationId xmlns:a16="http://schemas.microsoft.com/office/drawing/2014/main" id="{6F90D352-53B3-5B49-A967-191F32A8ABBF}"/>
              </a:ext>
            </a:extLst>
          </p:cNvPr>
          <p:cNvSpPr>
            <a:spLocks noGrp="1"/>
          </p:cNvSpPr>
          <p:nvPr>
            <p:ph type="sldNum" sz="quarter" idx="10"/>
          </p:nvPr>
        </p:nvSpPr>
        <p:spPr>
          <a:xfrm>
            <a:off x="178381" y="6138956"/>
            <a:ext cx="380567" cy="376265"/>
          </a:xfrm>
          <a:prstGeom prst="rect">
            <a:avLst/>
          </a:prstGeom>
        </p:spPr>
        <p:txBody>
          <a:bodyPr/>
          <a:lstStyle>
            <a:lvl1pPr>
              <a:defRPr b="0" i="0">
                <a:latin typeface="Lato" panose="020F0502020204030203" pitchFamily="34" charset="77"/>
              </a:defRPr>
            </a:lvl1pPr>
          </a:lstStyle>
          <a:p>
            <a:fld id="{F15B2483-50F0-904C-A949-8215275C3B73}" type="slidenum">
              <a:rPr lang="en-US" smtClean="0"/>
              <a:pPr/>
              <a:t>‹#›</a:t>
            </a:fld>
            <a:endParaRPr lang="en-US"/>
          </a:p>
        </p:txBody>
      </p:sp>
      <p:sp>
        <p:nvSpPr>
          <p:cNvPr id="54" name="Picture Placeholder 4">
            <a:extLst>
              <a:ext uri="{FF2B5EF4-FFF2-40B4-BE49-F238E27FC236}">
                <a16:creationId xmlns:a16="http://schemas.microsoft.com/office/drawing/2014/main" id="{398289C4-5DAD-084D-9E08-AD638B3227AD}"/>
              </a:ext>
            </a:extLst>
          </p:cNvPr>
          <p:cNvSpPr>
            <a:spLocks noGrp="1"/>
          </p:cNvSpPr>
          <p:nvPr>
            <p:ph type="pic" sz="quarter" idx="12" hasCustomPrompt="1"/>
          </p:nvPr>
        </p:nvSpPr>
        <p:spPr>
          <a:xfrm>
            <a:off x="1564488" y="1251023"/>
            <a:ext cx="1386417" cy="1388533"/>
          </a:xfrm>
          <a:prstGeom prst="ellipse">
            <a:avLst/>
          </a:prstGeom>
          <a:noFill/>
          <a:ln w="12700">
            <a:noFill/>
          </a:ln>
        </p:spPr>
        <p:txBody>
          <a:bodyPr lIns="0" rIns="0"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bg1"/>
                </a:solidFill>
                <a:latin typeface="Lato" panose="020F0502020204030203" pitchFamily="34" charset="77"/>
              </a:defRPr>
            </a:lvl1pPr>
          </a:lstStyle>
          <a:p>
            <a:r>
              <a:rPr lang="en-US"/>
              <a:t>Click to insert white icon</a:t>
            </a:r>
          </a:p>
        </p:txBody>
      </p:sp>
      <p:sp>
        <p:nvSpPr>
          <p:cNvPr id="55" name="Picture Placeholder 4">
            <a:extLst>
              <a:ext uri="{FF2B5EF4-FFF2-40B4-BE49-F238E27FC236}">
                <a16:creationId xmlns:a16="http://schemas.microsoft.com/office/drawing/2014/main" id="{5ED2E6F5-C31C-7E4E-9292-21F4A9C9EC74}"/>
              </a:ext>
            </a:extLst>
          </p:cNvPr>
          <p:cNvSpPr>
            <a:spLocks noGrp="1"/>
          </p:cNvSpPr>
          <p:nvPr>
            <p:ph type="pic" sz="quarter" idx="30" hasCustomPrompt="1"/>
          </p:nvPr>
        </p:nvSpPr>
        <p:spPr>
          <a:xfrm>
            <a:off x="5402710" y="1251023"/>
            <a:ext cx="1386417" cy="1388533"/>
          </a:xfrm>
          <a:prstGeom prst="ellipse">
            <a:avLst/>
          </a:prstGeom>
          <a:noFill/>
          <a:ln w="12700">
            <a:noFill/>
          </a:ln>
        </p:spPr>
        <p:txBody>
          <a:bodyPr lIns="0" rIns="0"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bg1"/>
                </a:solidFill>
                <a:latin typeface="Lato" panose="020F0502020204030203" pitchFamily="34" charset="77"/>
              </a:defRPr>
            </a:lvl1pPr>
          </a:lstStyle>
          <a:p>
            <a:r>
              <a:rPr lang="en-US"/>
              <a:t>Click to insert white icon</a:t>
            </a:r>
          </a:p>
        </p:txBody>
      </p:sp>
      <p:sp>
        <p:nvSpPr>
          <p:cNvPr id="56" name="Picture Placeholder 4">
            <a:extLst>
              <a:ext uri="{FF2B5EF4-FFF2-40B4-BE49-F238E27FC236}">
                <a16:creationId xmlns:a16="http://schemas.microsoft.com/office/drawing/2014/main" id="{7F1BAE3A-9B85-C64F-9ADD-5783348BA181}"/>
              </a:ext>
            </a:extLst>
          </p:cNvPr>
          <p:cNvSpPr>
            <a:spLocks noGrp="1"/>
          </p:cNvSpPr>
          <p:nvPr>
            <p:ph type="pic" sz="quarter" idx="31" hasCustomPrompt="1"/>
          </p:nvPr>
        </p:nvSpPr>
        <p:spPr>
          <a:xfrm>
            <a:off x="9240932" y="1251023"/>
            <a:ext cx="1386417" cy="1388533"/>
          </a:xfrm>
          <a:prstGeom prst="ellipse">
            <a:avLst/>
          </a:prstGeom>
          <a:noFill/>
          <a:ln w="12700">
            <a:noFill/>
          </a:ln>
        </p:spPr>
        <p:txBody>
          <a:bodyPr lIns="0" rIns="0"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000" b="0" i="0">
                <a:solidFill>
                  <a:schemeClr val="bg1"/>
                </a:solidFill>
                <a:latin typeface="Lato" panose="020F0502020204030203" pitchFamily="34" charset="77"/>
              </a:defRPr>
            </a:lvl1pPr>
          </a:lstStyle>
          <a:p>
            <a:r>
              <a:rPr lang="en-US"/>
              <a:t>Click to insert white icon</a:t>
            </a:r>
          </a:p>
        </p:txBody>
      </p:sp>
      <p:sp>
        <p:nvSpPr>
          <p:cNvPr id="57" name="Text Placeholder 5">
            <a:extLst>
              <a:ext uri="{FF2B5EF4-FFF2-40B4-BE49-F238E27FC236}">
                <a16:creationId xmlns:a16="http://schemas.microsoft.com/office/drawing/2014/main" id="{7488B9F5-B2F8-DB41-B174-F3B7AB26478F}"/>
              </a:ext>
            </a:extLst>
          </p:cNvPr>
          <p:cNvSpPr>
            <a:spLocks noGrp="1"/>
          </p:cNvSpPr>
          <p:nvPr>
            <p:ph type="body" sz="quarter" idx="13"/>
          </p:nvPr>
        </p:nvSpPr>
        <p:spPr>
          <a:xfrm>
            <a:off x="609599" y="2813332"/>
            <a:ext cx="3296196" cy="530771"/>
          </a:xfrm>
        </p:spPr>
        <p:txBody>
          <a:bodyPr>
            <a:noAutofit/>
          </a:bodyPr>
          <a:lstStyle>
            <a:lvl1pPr marL="0" indent="0" algn="ctr">
              <a:spcBef>
                <a:spcPts val="0"/>
              </a:spcBef>
              <a:buNone/>
              <a:defRPr sz="2500" b="0" i="0">
                <a:solidFill>
                  <a:schemeClr val="accent3"/>
                </a:solidFill>
                <a:latin typeface="Lato" panose="020F0502020204030203" pitchFamily="34" charset="77"/>
              </a:defRPr>
            </a:lvl1pPr>
          </a:lstStyle>
          <a:p>
            <a:pPr lvl="0"/>
            <a:r>
              <a:rPr lang="en-US" noProof="0"/>
              <a:t>Click to edit Master text styles</a:t>
            </a:r>
          </a:p>
        </p:txBody>
      </p:sp>
      <p:sp>
        <p:nvSpPr>
          <p:cNvPr id="58" name="Text Placeholder 5">
            <a:extLst>
              <a:ext uri="{FF2B5EF4-FFF2-40B4-BE49-F238E27FC236}">
                <a16:creationId xmlns:a16="http://schemas.microsoft.com/office/drawing/2014/main" id="{9F946B3E-8516-7640-A7DB-AF9A49C09676}"/>
              </a:ext>
            </a:extLst>
          </p:cNvPr>
          <p:cNvSpPr>
            <a:spLocks noGrp="1"/>
          </p:cNvSpPr>
          <p:nvPr>
            <p:ph type="body" sz="quarter" idx="16"/>
          </p:nvPr>
        </p:nvSpPr>
        <p:spPr>
          <a:xfrm>
            <a:off x="609600" y="3778538"/>
            <a:ext cx="3296197" cy="1894829"/>
          </a:xfrm>
        </p:spPr>
        <p:txBody>
          <a:bodyPr>
            <a:noAutofit/>
          </a:bodyPr>
          <a:lstStyle>
            <a:lvl1pPr marL="228589" marR="0" indent="-228589" algn="l" defTabSz="914354" rtl="0" eaLnBrk="1" fontAlgn="auto" latinLnBrk="0" hangingPunct="1">
              <a:lnSpc>
                <a:spcPct val="100000"/>
              </a:lnSpc>
              <a:spcBef>
                <a:spcPts val="1000"/>
              </a:spcBef>
              <a:spcAft>
                <a:spcPts val="0"/>
              </a:spcAft>
              <a:buClrTx/>
              <a:buSzTx/>
              <a:buFont typeface="Arial" panose="020B0604020202020204" pitchFamily="34" charset="0"/>
              <a:buChar char="•"/>
              <a:tabLst/>
              <a:defRPr sz="1400" b="0" i="0">
                <a:solidFill>
                  <a:srgbClr val="58595B"/>
                </a:solidFill>
                <a:latin typeface="Lato" panose="020F0502020204030203" pitchFamily="34" charset="77"/>
              </a:defRPr>
            </a:lvl1pPr>
          </a:lstStyle>
          <a:p>
            <a:pPr lvl="0"/>
            <a:r>
              <a:rPr lang="en-US"/>
              <a:t>Click to edit Master text styles</a:t>
            </a:r>
          </a:p>
        </p:txBody>
      </p:sp>
      <p:cxnSp>
        <p:nvCxnSpPr>
          <p:cNvPr id="59" name="Straight Connector 58">
            <a:extLst>
              <a:ext uri="{FF2B5EF4-FFF2-40B4-BE49-F238E27FC236}">
                <a16:creationId xmlns:a16="http://schemas.microsoft.com/office/drawing/2014/main" id="{14DB68B4-7A1D-5F45-8FEA-A137525FD3FA}"/>
              </a:ext>
            </a:extLst>
          </p:cNvPr>
          <p:cNvCxnSpPr>
            <a:cxnSpLocks/>
          </p:cNvCxnSpPr>
          <p:nvPr userDrawn="1"/>
        </p:nvCxnSpPr>
        <p:spPr>
          <a:xfrm flipH="1">
            <a:off x="609601" y="3581918"/>
            <a:ext cx="3296195" cy="0"/>
          </a:xfrm>
          <a:prstGeom prst="line">
            <a:avLst/>
          </a:prstGeom>
          <a:ln w="158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 Placeholder 5">
            <a:extLst>
              <a:ext uri="{FF2B5EF4-FFF2-40B4-BE49-F238E27FC236}">
                <a16:creationId xmlns:a16="http://schemas.microsoft.com/office/drawing/2014/main" id="{E9891CB5-3413-CC41-B7DF-87A8C0BEE7E3}"/>
              </a:ext>
            </a:extLst>
          </p:cNvPr>
          <p:cNvSpPr>
            <a:spLocks noGrp="1"/>
          </p:cNvSpPr>
          <p:nvPr>
            <p:ph type="body" sz="quarter" idx="28"/>
          </p:nvPr>
        </p:nvSpPr>
        <p:spPr>
          <a:xfrm>
            <a:off x="4447820" y="3778538"/>
            <a:ext cx="3296197" cy="1894829"/>
          </a:xfrm>
        </p:spPr>
        <p:txBody>
          <a:bodyPr>
            <a:noAutofit/>
          </a:bodyPr>
          <a:lstStyle>
            <a:lvl1pPr marL="228589" marR="0" indent="-228589" algn="l" defTabSz="914354" rtl="0" eaLnBrk="1" fontAlgn="auto" latinLnBrk="0" hangingPunct="1">
              <a:lnSpc>
                <a:spcPct val="100000"/>
              </a:lnSpc>
              <a:spcBef>
                <a:spcPts val="1000"/>
              </a:spcBef>
              <a:spcAft>
                <a:spcPts val="0"/>
              </a:spcAft>
              <a:buClrTx/>
              <a:buSzTx/>
              <a:buFont typeface="Arial" panose="020B0604020202020204" pitchFamily="34" charset="0"/>
              <a:buChar char="•"/>
              <a:tabLst/>
              <a:defRPr sz="1400" b="0" i="0">
                <a:solidFill>
                  <a:srgbClr val="58595B"/>
                </a:solidFill>
                <a:latin typeface="Lato" panose="020F0502020204030203" pitchFamily="34" charset="77"/>
              </a:defRPr>
            </a:lvl1pPr>
          </a:lstStyle>
          <a:p>
            <a:pPr lvl="0"/>
            <a:r>
              <a:rPr lang="en-US"/>
              <a:t>Click to edit Master text styles</a:t>
            </a:r>
          </a:p>
        </p:txBody>
      </p:sp>
      <p:cxnSp>
        <p:nvCxnSpPr>
          <p:cNvPr id="61" name="Straight Connector 60">
            <a:extLst>
              <a:ext uri="{FF2B5EF4-FFF2-40B4-BE49-F238E27FC236}">
                <a16:creationId xmlns:a16="http://schemas.microsoft.com/office/drawing/2014/main" id="{4693AE8D-30D4-F24A-B9D7-D0B01022488C}"/>
              </a:ext>
            </a:extLst>
          </p:cNvPr>
          <p:cNvCxnSpPr>
            <a:cxnSpLocks/>
          </p:cNvCxnSpPr>
          <p:nvPr userDrawn="1"/>
        </p:nvCxnSpPr>
        <p:spPr>
          <a:xfrm flipH="1">
            <a:off x="4447821" y="3581918"/>
            <a:ext cx="3296195" cy="0"/>
          </a:xfrm>
          <a:prstGeom prst="line">
            <a:avLst/>
          </a:prstGeom>
          <a:ln w="158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2" name="Text Placeholder 5">
            <a:extLst>
              <a:ext uri="{FF2B5EF4-FFF2-40B4-BE49-F238E27FC236}">
                <a16:creationId xmlns:a16="http://schemas.microsoft.com/office/drawing/2014/main" id="{DDDF26FD-B72D-1E48-86C6-951175FABD89}"/>
              </a:ext>
            </a:extLst>
          </p:cNvPr>
          <p:cNvSpPr>
            <a:spLocks noGrp="1"/>
          </p:cNvSpPr>
          <p:nvPr>
            <p:ph type="body" sz="quarter" idx="32"/>
          </p:nvPr>
        </p:nvSpPr>
        <p:spPr>
          <a:xfrm>
            <a:off x="8286044" y="3778538"/>
            <a:ext cx="3296197" cy="1894829"/>
          </a:xfrm>
        </p:spPr>
        <p:txBody>
          <a:bodyPr>
            <a:noAutofit/>
          </a:bodyPr>
          <a:lstStyle>
            <a:lvl1pPr marL="228589" marR="0" indent="-228589" algn="l" defTabSz="914354" rtl="0" eaLnBrk="1" fontAlgn="auto" latinLnBrk="0" hangingPunct="1">
              <a:lnSpc>
                <a:spcPct val="100000"/>
              </a:lnSpc>
              <a:spcBef>
                <a:spcPts val="1000"/>
              </a:spcBef>
              <a:spcAft>
                <a:spcPts val="0"/>
              </a:spcAft>
              <a:buClrTx/>
              <a:buSzTx/>
              <a:buFont typeface="Arial" panose="020B0604020202020204" pitchFamily="34" charset="0"/>
              <a:buChar char="•"/>
              <a:tabLst/>
              <a:defRPr sz="1400" b="0" i="0">
                <a:solidFill>
                  <a:srgbClr val="58595B"/>
                </a:solidFill>
                <a:latin typeface="Lato" panose="020F0502020204030203" pitchFamily="34" charset="77"/>
              </a:defRPr>
            </a:lvl1pPr>
          </a:lstStyle>
          <a:p>
            <a:pPr lvl="0"/>
            <a:r>
              <a:rPr lang="en-US"/>
              <a:t>Click to edit Master text styles</a:t>
            </a:r>
          </a:p>
        </p:txBody>
      </p:sp>
      <p:cxnSp>
        <p:nvCxnSpPr>
          <p:cNvPr id="63" name="Straight Connector 62">
            <a:extLst>
              <a:ext uri="{FF2B5EF4-FFF2-40B4-BE49-F238E27FC236}">
                <a16:creationId xmlns:a16="http://schemas.microsoft.com/office/drawing/2014/main" id="{137E1609-8134-9D4A-8829-35E0F3D604AF}"/>
              </a:ext>
            </a:extLst>
          </p:cNvPr>
          <p:cNvCxnSpPr>
            <a:cxnSpLocks/>
          </p:cNvCxnSpPr>
          <p:nvPr userDrawn="1"/>
        </p:nvCxnSpPr>
        <p:spPr>
          <a:xfrm flipH="1">
            <a:off x="8286045" y="3581918"/>
            <a:ext cx="3296195" cy="0"/>
          </a:xfrm>
          <a:prstGeom prst="line">
            <a:avLst/>
          </a:prstGeom>
          <a:ln w="158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4" name="Text Placeholder 5">
            <a:extLst>
              <a:ext uri="{FF2B5EF4-FFF2-40B4-BE49-F238E27FC236}">
                <a16:creationId xmlns:a16="http://schemas.microsoft.com/office/drawing/2014/main" id="{2BCFBE41-6629-3F44-A90F-ACC56CBFF494}"/>
              </a:ext>
            </a:extLst>
          </p:cNvPr>
          <p:cNvSpPr>
            <a:spLocks noGrp="1"/>
          </p:cNvSpPr>
          <p:nvPr>
            <p:ph type="body" sz="quarter" idx="33"/>
          </p:nvPr>
        </p:nvSpPr>
        <p:spPr>
          <a:xfrm>
            <a:off x="4447822" y="2813332"/>
            <a:ext cx="3296196" cy="530771"/>
          </a:xfrm>
        </p:spPr>
        <p:txBody>
          <a:bodyPr>
            <a:noAutofit/>
          </a:bodyPr>
          <a:lstStyle>
            <a:lvl1pPr marL="0" indent="0" algn="ctr">
              <a:spcBef>
                <a:spcPts val="0"/>
              </a:spcBef>
              <a:buNone/>
              <a:defRPr sz="2500" b="0" i="0">
                <a:solidFill>
                  <a:schemeClr val="accent3"/>
                </a:solidFill>
                <a:latin typeface="Lato" panose="020F0502020204030203" pitchFamily="34" charset="77"/>
              </a:defRPr>
            </a:lvl1pPr>
          </a:lstStyle>
          <a:p>
            <a:pPr lvl="0"/>
            <a:r>
              <a:rPr lang="en-US" noProof="0"/>
              <a:t>Click to edit Master text styles</a:t>
            </a:r>
          </a:p>
        </p:txBody>
      </p:sp>
      <p:sp>
        <p:nvSpPr>
          <p:cNvPr id="65" name="Text Placeholder 5">
            <a:extLst>
              <a:ext uri="{FF2B5EF4-FFF2-40B4-BE49-F238E27FC236}">
                <a16:creationId xmlns:a16="http://schemas.microsoft.com/office/drawing/2014/main" id="{468A1410-E132-714F-8EEC-781168574F39}"/>
              </a:ext>
            </a:extLst>
          </p:cNvPr>
          <p:cNvSpPr>
            <a:spLocks noGrp="1"/>
          </p:cNvSpPr>
          <p:nvPr>
            <p:ph type="body" sz="quarter" idx="34"/>
          </p:nvPr>
        </p:nvSpPr>
        <p:spPr>
          <a:xfrm>
            <a:off x="8286043" y="2813332"/>
            <a:ext cx="3296196" cy="530771"/>
          </a:xfrm>
        </p:spPr>
        <p:txBody>
          <a:bodyPr>
            <a:noAutofit/>
          </a:bodyPr>
          <a:lstStyle>
            <a:lvl1pPr marL="0" indent="0" algn="ctr">
              <a:spcBef>
                <a:spcPts val="0"/>
              </a:spcBef>
              <a:buNone/>
              <a:defRPr sz="2500" b="0" i="0">
                <a:solidFill>
                  <a:schemeClr val="accent3"/>
                </a:solidFill>
                <a:latin typeface="Lato" panose="020F0502020204030203" pitchFamily="34" charset="77"/>
              </a:defRPr>
            </a:lvl1pPr>
          </a:lstStyle>
          <a:p>
            <a:pPr lvl="0"/>
            <a:r>
              <a:rPr lang="en-US" noProof="0"/>
              <a:t>Click to edit Master text styles</a:t>
            </a:r>
          </a:p>
        </p:txBody>
      </p:sp>
    </p:spTree>
    <p:extLst>
      <p:ext uri="{BB962C8B-B14F-4D97-AF65-F5344CB8AC3E}">
        <p14:creationId xmlns:p14="http://schemas.microsoft.com/office/powerpoint/2010/main" val="1744252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With Content_no circles">
    <p:spTree>
      <p:nvGrpSpPr>
        <p:cNvPr id="1" name=""/>
        <p:cNvGrpSpPr/>
        <p:nvPr/>
      </p:nvGrpSpPr>
      <p:grpSpPr>
        <a:xfrm>
          <a:off x="0" y="0"/>
          <a:ext cx="0" cy="0"/>
          <a:chOff x="0" y="0"/>
          <a:chExt cx="0" cy="0"/>
        </a:xfrm>
      </p:grpSpPr>
      <p:sp>
        <p:nvSpPr>
          <p:cNvPr id="20" name="Text Placeholder 2">
            <a:extLst>
              <a:ext uri="{FF2B5EF4-FFF2-40B4-BE49-F238E27FC236}">
                <a16:creationId xmlns:a16="http://schemas.microsoft.com/office/drawing/2014/main" id="{3CF861F4-14C3-B043-88F1-C5BA92CD5AF3}"/>
              </a:ext>
            </a:extLst>
          </p:cNvPr>
          <p:cNvSpPr>
            <a:spLocks noGrp="1"/>
          </p:cNvSpPr>
          <p:nvPr>
            <p:ph idx="1" hasCustomPrompt="1"/>
          </p:nvPr>
        </p:nvSpPr>
        <p:spPr>
          <a:xfrm>
            <a:off x="609600" y="1193800"/>
            <a:ext cx="10972800" cy="4329421"/>
          </a:xfrm>
          <a:prstGeom prst="rect">
            <a:avLst/>
          </a:prstGeom>
        </p:spPr>
        <p:txBody>
          <a:bodyPr vert="horz" lIns="0" tIns="0" rIns="0" bIns="0" rtlCol="0">
            <a:noAutofit/>
          </a:bodyPr>
          <a:lstStyle>
            <a:lvl1pPr>
              <a:defRPr b="0" i="0">
                <a:latin typeface="Lato" panose="020F0502020204030203" pitchFamily="34" charset="77"/>
              </a:defRPr>
            </a:lvl1pPr>
            <a:lvl2pPr>
              <a:defRPr b="0" i="0">
                <a:latin typeface="Lato" panose="020F0502020204030203" pitchFamily="34" charset="77"/>
              </a:defRPr>
            </a:lvl2pPr>
            <a:lvl3pPr>
              <a:defRPr b="0" i="0">
                <a:latin typeface="Lato" panose="020F0502020204030203" pitchFamily="34" charset="77"/>
              </a:defRPr>
            </a:lvl3pPr>
            <a:lvl4pPr>
              <a:defRPr b="0" i="0">
                <a:latin typeface="Lato" panose="020F0502020204030203" pitchFamily="34" charset="77"/>
              </a:defRPr>
            </a:lvl4pPr>
            <a:lvl5pPr>
              <a:defRPr b="0" i="0">
                <a:latin typeface="Lato" panose="020F0502020204030203" pitchFamily="34" charset="77"/>
              </a:defRPr>
            </a:lvl5pPr>
          </a:lstStyle>
          <a:p>
            <a:pPr lvl="0"/>
            <a:r>
              <a:rPr lang="en-CA" noProof="0"/>
              <a:t>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21" name="Title 5">
            <a:extLst>
              <a:ext uri="{FF2B5EF4-FFF2-40B4-BE49-F238E27FC236}">
                <a16:creationId xmlns:a16="http://schemas.microsoft.com/office/drawing/2014/main" id="{6CAAD058-B903-E943-BEB8-D7662104A07C}"/>
              </a:ext>
            </a:extLst>
          </p:cNvPr>
          <p:cNvSpPr>
            <a:spLocks noGrp="1"/>
          </p:cNvSpPr>
          <p:nvPr>
            <p:ph type="title" hasCustomPrompt="1"/>
          </p:nvPr>
        </p:nvSpPr>
        <p:spPr>
          <a:xfrm>
            <a:off x="609600" y="9531"/>
            <a:ext cx="10972797" cy="984996"/>
          </a:xfrm>
        </p:spPr>
        <p:txBody>
          <a:bodyPr anchor="b" anchorCtr="0">
            <a:noAutofit/>
          </a:bodyPr>
          <a:lstStyle>
            <a:lvl1pPr>
              <a:defRPr b="0" i="0">
                <a:latin typeface="Lato Light" panose="020F0302020204030203" pitchFamily="34" charset="77"/>
              </a:defRPr>
            </a:lvl1pPr>
          </a:lstStyle>
          <a:p>
            <a:r>
              <a:rPr lang="en-US"/>
              <a:t>Click to edit title</a:t>
            </a:r>
          </a:p>
        </p:txBody>
      </p:sp>
      <p:sp>
        <p:nvSpPr>
          <p:cNvPr id="26" name="Slide Number Placeholder 1">
            <a:extLst>
              <a:ext uri="{FF2B5EF4-FFF2-40B4-BE49-F238E27FC236}">
                <a16:creationId xmlns:a16="http://schemas.microsoft.com/office/drawing/2014/main" id="{C94203C0-B4CC-A84A-97E4-9D46285C0030}"/>
              </a:ext>
            </a:extLst>
          </p:cNvPr>
          <p:cNvSpPr>
            <a:spLocks noGrp="1"/>
          </p:cNvSpPr>
          <p:nvPr>
            <p:ph type="sldNum" sz="quarter" idx="31"/>
          </p:nvPr>
        </p:nvSpPr>
        <p:spPr>
          <a:xfrm>
            <a:off x="178381" y="6146586"/>
            <a:ext cx="380567" cy="376265"/>
          </a:xfrm>
          <a:prstGeom prst="rect">
            <a:avLst/>
          </a:prstGeom>
        </p:spPr>
        <p:txBody>
          <a:bodyPr/>
          <a:lstStyle>
            <a:lvl1pPr>
              <a:defRPr b="0" i="0">
                <a:latin typeface="Lato" panose="020F0502020204030203" pitchFamily="34" charset="77"/>
              </a:defRPr>
            </a:lvl1pPr>
          </a:lstStyle>
          <a:p>
            <a:fld id="{B4DD8D71-BB03-9A49-92D5-DC3B01458EFA}" type="slidenum">
              <a:rPr lang="en-US" smtClean="0"/>
              <a:pPr/>
              <a:t>‹#›</a:t>
            </a:fld>
            <a:endParaRPr lang="en-US"/>
          </a:p>
        </p:txBody>
      </p:sp>
    </p:spTree>
    <p:extLst>
      <p:ext uri="{BB962C8B-B14F-4D97-AF65-F5344CB8AC3E}">
        <p14:creationId xmlns:p14="http://schemas.microsoft.com/office/powerpoint/2010/main" val="2072752637"/>
      </p:ext>
    </p:extLst>
  </p:cSld>
  <p:clrMapOvr>
    <a:masterClrMapping/>
  </p:clrMapOvr>
  <p:extLst>
    <p:ext uri="{DCECCB84-F9BA-43D5-87BE-67443E8EF086}">
      <p15:sldGuideLst xmlns:p15="http://schemas.microsoft.com/office/powerpoint/2012/main">
        <p15:guide id="1" orient="horz" pos="2880">
          <p15:clr>
            <a:srgbClr val="FBAE40"/>
          </p15:clr>
        </p15:guide>
        <p15:guide id="3" pos="512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With Content_no circl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51EBCA-B747-4645-B19D-75B0E5D42D68}"/>
              </a:ext>
            </a:extLst>
          </p:cNvPr>
          <p:cNvSpPr/>
          <p:nvPr userDrawn="1"/>
        </p:nvSpPr>
        <p:spPr>
          <a:xfrm>
            <a:off x="-18010" y="-12923"/>
            <a:ext cx="12210010" cy="67505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3" descr="A picture containing truck, outdoor, transport, parked&#10;&#10;Description automatically generated">
            <a:extLst>
              <a:ext uri="{FF2B5EF4-FFF2-40B4-BE49-F238E27FC236}">
                <a16:creationId xmlns:a16="http://schemas.microsoft.com/office/drawing/2014/main" id="{B47FAA75-968C-2440-B2F7-843CA18432B1}"/>
              </a:ext>
            </a:extLst>
          </p:cNvPr>
          <p:cNvPicPr>
            <a:picLocks noChangeAspect="1"/>
          </p:cNvPicPr>
          <p:nvPr userDrawn="1"/>
        </p:nvPicPr>
        <p:blipFill rotWithShape="1">
          <a:blip r:embed="rId2" cstate="print">
            <a:alphaModFix amt="10000"/>
            <a:extLst>
              <a:ext uri="{28A0092B-C50C-407E-A947-70E740481C1C}">
                <a14:useLocalDpi xmlns:a14="http://schemas.microsoft.com/office/drawing/2010/main"/>
              </a:ext>
            </a:extLst>
          </a:blip>
          <a:srcRect/>
          <a:stretch/>
        </p:blipFill>
        <p:spPr>
          <a:xfrm>
            <a:off x="-18011" y="-12924"/>
            <a:ext cx="12210011" cy="6750503"/>
          </a:xfrm>
          <a:prstGeom prst="rect">
            <a:avLst/>
          </a:prstGeom>
        </p:spPr>
      </p:pic>
      <p:sp>
        <p:nvSpPr>
          <p:cNvPr id="20" name="Text Placeholder 2">
            <a:extLst>
              <a:ext uri="{FF2B5EF4-FFF2-40B4-BE49-F238E27FC236}">
                <a16:creationId xmlns:a16="http://schemas.microsoft.com/office/drawing/2014/main" id="{3CF861F4-14C3-B043-88F1-C5BA92CD5AF3}"/>
              </a:ext>
            </a:extLst>
          </p:cNvPr>
          <p:cNvSpPr>
            <a:spLocks noGrp="1"/>
          </p:cNvSpPr>
          <p:nvPr>
            <p:ph idx="1" hasCustomPrompt="1"/>
          </p:nvPr>
        </p:nvSpPr>
        <p:spPr>
          <a:xfrm>
            <a:off x="558947" y="1037853"/>
            <a:ext cx="10972800" cy="4329421"/>
          </a:xfrm>
          <a:prstGeom prst="rect">
            <a:avLst/>
          </a:prstGeom>
        </p:spPr>
        <p:txBody>
          <a:bodyPr vert="horz" lIns="0" tIns="0" rIns="0" bIns="0" rtlCol="0">
            <a:noAutofit/>
          </a:bodyPr>
          <a:lstStyle>
            <a:lvl1pPr>
              <a:defRPr b="0" i="0">
                <a:solidFill>
                  <a:schemeClr val="bg1"/>
                </a:solidFill>
                <a:latin typeface="Lato" panose="020F0502020204030203" pitchFamily="34" charset="77"/>
              </a:defRPr>
            </a:lvl1pPr>
            <a:lvl2pPr>
              <a:defRPr b="0" i="0">
                <a:solidFill>
                  <a:schemeClr val="bg1"/>
                </a:solidFill>
                <a:latin typeface="Lato" panose="020F0502020204030203" pitchFamily="34" charset="77"/>
              </a:defRPr>
            </a:lvl2pPr>
            <a:lvl3pPr>
              <a:defRPr b="0" i="0">
                <a:solidFill>
                  <a:schemeClr val="bg1"/>
                </a:solidFill>
                <a:latin typeface="Lato" panose="020F0502020204030203" pitchFamily="34" charset="77"/>
              </a:defRPr>
            </a:lvl3pPr>
            <a:lvl4pPr>
              <a:defRPr b="0" i="0">
                <a:solidFill>
                  <a:schemeClr val="bg1"/>
                </a:solidFill>
                <a:latin typeface="Lato" panose="020F0502020204030203" pitchFamily="34" charset="77"/>
              </a:defRPr>
            </a:lvl4pPr>
            <a:lvl5pPr>
              <a:defRPr b="0" i="0">
                <a:solidFill>
                  <a:schemeClr val="bg1"/>
                </a:solidFill>
                <a:latin typeface="Lato" panose="020F0502020204030203" pitchFamily="34" charset="77"/>
              </a:defRPr>
            </a:lvl5pPr>
          </a:lstStyle>
          <a:p>
            <a:pPr lvl="0"/>
            <a:r>
              <a:rPr lang="en-CA" noProof="0"/>
              <a:t>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21" name="Title 5">
            <a:extLst>
              <a:ext uri="{FF2B5EF4-FFF2-40B4-BE49-F238E27FC236}">
                <a16:creationId xmlns:a16="http://schemas.microsoft.com/office/drawing/2014/main" id="{6CAAD058-B903-E943-BEB8-D7662104A07C}"/>
              </a:ext>
            </a:extLst>
          </p:cNvPr>
          <p:cNvSpPr>
            <a:spLocks noGrp="1"/>
          </p:cNvSpPr>
          <p:nvPr>
            <p:ph type="title" hasCustomPrompt="1"/>
          </p:nvPr>
        </p:nvSpPr>
        <p:spPr>
          <a:xfrm>
            <a:off x="609600" y="9531"/>
            <a:ext cx="10972797" cy="984996"/>
          </a:xfrm>
        </p:spPr>
        <p:txBody>
          <a:bodyPr anchor="b" anchorCtr="0">
            <a:noAutofit/>
          </a:bodyPr>
          <a:lstStyle>
            <a:lvl1pPr>
              <a:defRPr b="0" i="0">
                <a:solidFill>
                  <a:schemeClr val="bg1"/>
                </a:solidFill>
                <a:latin typeface="Lato Light" panose="020F0302020204030203" pitchFamily="34" charset="77"/>
              </a:defRPr>
            </a:lvl1pPr>
          </a:lstStyle>
          <a:p>
            <a:r>
              <a:rPr lang="en-US"/>
              <a:t>Click to edit title</a:t>
            </a:r>
          </a:p>
        </p:txBody>
      </p:sp>
      <p:sp>
        <p:nvSpPr>
          <p:cNvPr id="26" name="Slide Number Placeholder 1">
            <a:extLst>
              <a:ext uri="{FF2B5EF4-FFF2-40B4-BE49-F238E27FC236}">
                <a16:creationId xmlns:a16="http://schemas.microsoft.com/office/drawing/2014/main" id="{C94203C0-B4CC-A84A-97E4-9D46285C0030}"/>
              </a:ext>
            </a:extLst>
          </p:cNvPr>
          <p:cNvSpPr>
            <a:spLocks noGrp="1"/>
          </p:cNvSpPr>
          <p:nvPr>
            <p:ph type="sldNum" sz="quarter" idx="31"/>
          </p:nvPr>
        </p:nvSpPr>
        <p:spPr>
          <a:xfrm>
            <a:off x="178381" y="6146586"/>
            <a:ext cx="380567" cy="376265"/>
          </a:xfrm>
          <a:prstGeom prst="rect">
            <a:avLst/>
          </a:prstGeom>
        </p:spPr>
        <p:txBody>
          <a:bodyPr/>
          <a:lstStyle>
            <a:lvl1pPr>
              <a:defRPr b="0" i="0">
                <a:solidFill>
                  <a:schemeClr val="bg1"/>
                </a:solidFill>
                <a:latin typeface="Lato" panose="020F0502020204030203" pitchFamily="34" charset="77"/>
              </a:defRPr>
            </a:lvl1pPr>
          </a:lstStyle>
          <a:p>
            <a:fld id="{B4DD8D71-BB03-9A49-92D5-DC3B01458EFA}" type="slidenum">
              <a:rPr lang="en-US" smtClean="0"/>
              <a:pPr/>
              <a:t>‹#›</a:t>
            </a:fld>
            <a:endParaRPr lang="en-US"/>
          </a:p>
        </p:txBody>
      </p:sp>
      <p:sp>
        <p:nvSpPr>
          <p:cNvPr id="7" name="Oval 6">
            <a:extLst>
              <a:ext uri="{FF2B5EF4-FFF2-40B4-BE49-F238E27FC236}">
                <a16:creationId xmlns:a16="http://schemas.microsoft.com/office/drawing/2014/main" id="{1119AF9A-F794-374B-85D9-C49874497B47}"/>
              </a:ext>
            </a:extLst>
          </p:cNvPr>
          <p:cNvSpPr/>
          <p:nvPr userDrawn="1"/>
        </p:nvSpPr>
        <p:spPr>
          <a:xfrm>
            <a:off x="178380" y="6142284"/>
            <a:ext cx="380567" cy="38056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text, clipart&#10;&#10;Description automatically generated">
            <a:extLst>
              <a:ext uri="{FF2B5EF4-FFF2-40B4-BE49-F238E27FC236}">
                <a16:creationId xmlns:a16="http://schemas.microsoft.com/office/drawing/2014/main" id="{6995E4E2-B63A-E747-80C0-12315B18512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75090" y="6275242"/>
            <a:ext cx="1338530" cy="380006"/>
          </a:xfrm>
          <a:prstGeom prst="rect">
            <a:avLst/>
          </a:prstGeom>
        </p:spPr>
      </p:pic>
      <p:sp>
        <p:nvSpPr>
          <p:cNvPr id="9" name="TextBox 8">
            <a:extLst>
              <a:ext uri="{FF2B5EF4-FFF2-40B4-BE49-F238E27FC236}">
                <a16:creationId xmlns:a16="http://schemas.microsoft.com/office/drawing/2014/main" id="{C70AADCF-2103-6649-9EFD-53894553AB72}"/>
              </a:ext>
            </a:extLst>
          </p:cNvPr>
          <p:cNvSpPr txBox="1"/>
          <p:nvPr userDrawn="1"/>
        </p:nvSpPr>
        <p:spPr>
          <a:xfrm>
            <a:off x="4815840" y="6524625"/>
            <a:ext cx="2560320" cy="80791"/>
          </a:xfrm>
          <a:prstGeom prst="rect">
            <a:avLst/>
          </a:prstGeom>
          <a:noFill/>
        </p:spPr>
        <p:txBody>
          <a:bodyPr wrap="square" lIns="0" tIns="0" rIns="0" bIns="0" rtlCol="0">
            <a:spAutoFit/>
          </a:bodyPr>
          <a:lstStyle/>
          <a:p>
            <a:pPr algn="ctr"/>
            <a:r>
              <a:rPr lang="en-US" sz="525">
                <a:solidFill>
                  <a:schemeClr val="bg1">
                    <a:lumMod val="85000"/>
                  </a:schemeClr>
                </a:solidFill>
              </a:rPr>
              <a:t>Confidential and proprietary information. © 2022 Stericycle, Inc. All rights reserved.</a:t>
            </a:r>
          </a:p>
        </p:txBody>
      </p:sp>
    </p:spTree>
    <p:extLst>
      <p:ext uri="{BB962C8B-B14F-4D97-AF65-F5344CB8AC3E}">
        <p14:creationId xmlns:p14="http://schemas.microsoft.com/office/powerpoint/2010/main" val="1876842561"/>
      </p:ext>
    </p:extLst>
  </p:cSld>
  <p:clrMapOvr>
    <a:masterClrMapping/>
  </p:clrMapOvr>
  <p:extLst>
    <p:ext uri="{DCECCB84-F9BA-43D5-87BE-67443E8EF086}">
      <p15:sldGuideLst xmlns:p15="http://schemas.microsoft.com/office/powerpoint/2012/main">
        <p15:guide id="1" orient="horz" pos="2880">
          <p15:clr>
            <a:srgbClr val="FBAE40"/>
          </p15:clr>
        </p15:guide>
        <p15:guide id="3" pos="512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16661D-8A69-4C0A-8FAA-2ED361A9F32E}"/>
              </a:ext>
            </a:extLst>
          </p:cNvPr>
          <p:cNvGraphicFramePr>
            <a:graphicFrameLocks noChangeAspect="1"/>
          </p:cNvGraphicFramePr>
          <p:nvPr userDrawn="1">
            <p:custDataLst>
              <p:tags r:id="rId19"/>
            </p:custDataLst>
            <p:extLst>
              <p:ext uri="{D42A27DB-BD31-4B8C-83A1-F6EECF244321}">
                <p14:modId xmlns:p14="http://schemas.microsoft.com/office/powerpoint/2010/main" val="3263728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5" name="Object 4" hidden="1">
                        <a:extLst>
                          <a:ext uri="{FF2B5EF4-FFF2-40B4-BE49-F238E27FC236}">
                            <a16:creationId xmlns:a16="http://schemas.microsoft.com/office/drawing/2014/main" id="{A016661D-8A69-4C0A-8FAA-2ED361A9F32E}"/>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1028584B-73E4-A64F-8DA7-010A2D131790}"/>
              </a:ext>
            </a:extLst>
          </p:cNvPr>
          <p:cNvSpPr>
            <a:spLocks noGrp="1"/>
          </p:cNvSpPr>
          <p:nvPr>
            <p:ph type="sldNum" sz="quarter" idx="4"/>
          </p:nvPr>
        </p:nvSpPr>
        <p:spPr>
          <a:xfrm>
            <a:off x="178381" y="6138956"/>
            <a:ext cx="380567" cy="376265"/>
          </a:xfrm>
          <a:prstGeom prst="rect">
            <a:avLst/>
          </a:prstGeom>
        </p:spPr>
        <p:txBody>
          <a:bodyPr vert="horz" lIns="91440" tIns="45720" rIns="91440" bIns="45720" rtlCol="0" anchor="ctr"/>
          <a:lstStyle>
            <a:lvl1pPr algn="ctr">
              <a:defRPr sz="1000" b="0" i="0">
                <a:solidFill>
                  <a:schemeClr val="accent4"/>
                </a:solidFill>
                <a:latin typeface="Lato" panose="020F0502020204030203" pitchFamily="34" charset="77"/>
              </a:defRPr>
            </a:lvl1pPr>
          </a:lstStyle>
          <a:p>
            <a:fld id="{F15B2483-50F0-904C-A949-8215275C3B73}" type="slidenum">
              <a:rPr lang="en-US" smtClean="0"/>
              <a:pPr/>
              <a:t>‹#›</a:t>
            </a:fld>
            <a:endParaRPr lang="en-US"/>
          </a:p>
        </p:txBody>
      </p:sp>
      <p:sp>
        <p:nvSpPr>
          <p:cNvPr id="2" name="Title Placeholder 1">
            <a:extLst>
              <a:ext uri="{FF2B5EF4-FFF2-40B4-BE49-F238E27FC236}">
                <a16:creationId xmlns:a16="http://schemas.microsoft.com/office/drawing/2014/main" id="{D227C4CF-3C60-734B-A04C-C4ECC73151F5}"/>
              </a:ext>
            </a:extLst>
          </p:cNvPr>
          <p:cNvSpPr>
            <a:spLocks noGrp="1"/>
          </p:cNvSpPr>
          <p:nvPr>
            <p:ph type="title"/>
          </p:nvPr>
        </p:nvSpPr>
        <p:spPr>
          <a:xfrm>
            <a:off x="609601" y="1"/>
            <a:ext cx="10972798" cy="961845"/>
          </a:xfrm>
          <a:prstGeom prst="rect">
            <a:avLst/>
          </a:prstGeom>
        </p:spPr>
        <p:txBody>
          <a:bodyPr vert="horz" lIns="0" tIns="0" rIns="0" bIns="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3CFBAF3F-EBA5-B548-8D26-4DB08D0B02AC}"/>
              </a:ext>
            </a:extLst>
          </p:cNvPr>
          <p:cNvSpPr>
            <a:spLocks noGrp="1"/>
          </p:cNvSpPr>
          <p:nvPr>
            <p:ph type="body" idx="1"/>
          </p:nvPr>
        </p:nvSpPr>
        <p:spPr>
          <a:xfrm>
            <a:off x="609601" y="1273940"/>
            <a:ext cx="10972798" cy="4903023"/>
          </a:xfrm>
          <a:prstGeom prst="rect">
            <a:avLst/>
          </a:prstGeom>
        </p:spPr>
        <p:txBody>
          <a:bodyPr vert="horz" lIns="0" tIns="0" rIns="0" bIns="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F8DA152F-AC54-024F-90B5-4C0391DD509B}"/>
              </a:ext>
            </a:extLst>
          </p:cNvPr>
          <p:cNvSpPr txBox="1"/>
          <p:nvPr userDrawn="1"/>
        </p:nvSpPr>
        <p:spPr>
          <a:xfrm>
            <a:off x="4815840" y="6515221"/>
            <a:ext cx="2560320" cy="84639"/>
          </a:xfrm>
          <a:prstGeom prst="rect">
            <a:avLst/>
          </a:prstGeom>
          <a:solidFill>
            <a:schemeClr val="bg1"/>
          </a:solidFill>
        </p:spPr>
        <p:txBody>
          <a:bodyPr wrap="square" lIns="0" tIns="0" rIns="0" bIns="0" rtlCol="0">
            <a:spAutoFit/>
          </a:bodyPr>
          <a:lstStyle/>
          <a:p>
            <a:pPr algn="ctr"/>
            <a:r>
              <a:rPr lang="en-US" sz="550">
                <a:solidFill>
                  <a:schemeClr val="bg1">
                    <a:lumMod val="65000"/>
                  </a:schemeClr>
                </a:solidFill>
              </a:rPr>
              <a:t>Confidential and proprietary information. © 2022 Stericycle, Inc. All rights reserved.</a:t>
            </a:r>
          </a:p>
        </p:txBody>
      </p:sp>
    </p:spTree>
    <p:extLst>
      <p:ext uri="{BB962C8B-B14F-4D97-AF65-F5344CB8AC3E}">
        <p14:creationId xmlns:p14="http://schemas.microsoft.com/office/powerpoint/2010/main" val="212488008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Lst>
  <p:hf hdr="0" dt="0"/>
  <p:txStyles>
    <p:titleStyle>
      <a:lvl1pPr algn="l" defTabSz="914400" rtl="0" eaLnBrk="1" latinLnBrk="0" hangingPunct="1">
        <a:lnSpc>
          <a:spcPct val="90000"/>
        </a:lnSpc>
        <a:spcBef>
          <a:spcPct val="0"/>
        </a:spcBef>
        <a:buNone/>
        <a:defRPr sz="3600" b="0" i="0" kern="1200" baseline="0">
          <a:solidFill>
            <a:schemeClr val="accent4"/>
          </a:solidFill>
          <a:latin typeface="Lato Light" panose="020F0302020204030203" pitchFamily="34" charset="77"/>
          <a:ea typeface="Lato Thin" panose="020F0502020204030203" pitchFamily="34" charset="0"/>
          <a:cs typeface="Lato Thin" panose="020F0502020204030203" pitchFamily="34" charset="0"/>
        </a:defRPr>
      </a:lvl1pPr>
    </p:titleStyle>
    <p:bodyStyle>
      <a:lvl1pPr marL="182880" indent="-182880" algn="l" defTabSz="914400" rtl="0" eaLnBrk="1" latinLnBrk="0" hangingPunct="1">
        <a:lnSpc>
          <a:spcPct val="90000"/>
        </a:lnSpc>
        <a:spcBef>
          <a:spcPts val="1000"/>
        </a:spcBef>
        <a:buFont typeface="Arial" panose="020B0604020202020204" pitchFamily="34" charset="0"/>
        <a:buChar char="•"/>
        <a:defRPr sz="2000" b="0" i="0" kern="1200">
          <a:solidFill>
            <a:schemeClr val="accent4"/>
          </a:solidFill>
          <a:latin typeface="Lato" panose="020F0502020204030203" pitchFamily="34" charset="77"/>
          <a:ea typeface="+mn-ea"/>
          <a:cs typeface="+mn-cs"/>
        </a:defRPr>
      </a:lvl1pPr>
      <a:lvl2pPr marL="365760" indent="-182880" algn="l" defTabSz="914400" rtl="0" eaLnBrk="1" latinLnBrk="0" hangingPunct="1">
        <a:lnSpc>
          <a:spcPct val="90000"/>
        </a:lnSpc>
        <a:spcBef>
          <a:spcPts val="500"/>
        </a:spcBef>
        <a:buClr>
          <a:schemeClr val="accent4"/>
        </a:buClr>
        <a:buFont typeface="System Font Regular"/>
        <a:buChar char="-"/>
        <a:defRPr sz="1800" b="0" i="0" kern="1200">
          <a:solidFill>
            <a:schemeClr val="accent4"/>
          </a:solidFill>
          <a:latin typeface="Lato" panose="020F0502020204030203" pitchFamily="34" charset="77"/>
          <a:ea typeface="+mn-ea"/>
          <a:cs typeface="+mn-cs"/>
        </a:defRPr>
      </a:lvl2pPr>
      <a:lvl3pPr marL="548640" indent="-182880" algn="l" defTabSz="914400" rtl="0" eaLnBrk="1" latinLnBrk="0" hangingPunct="1">
        <a:lnSpc>
          <a:spcPct val="90000"/>
        </a:lnSpc>
        <a:spcBef>
          <a:spcPts val="500"/>
        </a:spcBef>
        <a:buClr>
          <a:schemeClr val="accent4"/>
        </a:buClr>
        <a:buFont typeface="System Font Regular"/>
        <a:buChar char="-"/>
        <a:defRPr sz="1600" b="0" i="0" kern="1200">
          <a:solidFill>
            <a:schemeClr val="accent4"/>
          </a:solidFill>
          <a:latin typeface="Lato" panose="020F0502020204030203" pitchFamily="34" charset="77"/>
          <a:ea typeface="+mn-ea"/>
          <a:cs typeface="+mn-cs"/>
        </a:defRPr>
      </a:lvl3pPr>
      <a:lvl4pPr marL="73152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4pPr>
      <a:lvl5pPr marL="91440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18" Type="http://schemas.openxmlformats.org/officeDocument/2006/relationships/image" Target="../media/image33.svg"/><Relationship Id="rId3" Type="http://schemas.openxmlformats.org/officeDocument/2006/relationships/notesSlide" Target="../notesSlides/notesSlide1.xml"/><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slideLayout" Target="../slideLayouts/slideLayout8.xml"/><Relationship Id="rId16" Type="http://schemas.openxmlformats.org/officeDocument/2006/relationships/image" Target="../media/image31.svg"/><Relationship Id="rId1" Type="http://schemas.openxmlformats.org/officeDocument/2006/relationships/tags" Target="../tags/tag2.xml"/><Relationship Id="rId6" Type="http://schemas.openxmlformats.org/officeDocument/2006/relationships/hyperlink" Target="https://thornfields.co.uk/workshops-for-organisations/correspondence-management/" TargetMode="External"/><Relationship Id="rId11" Type="http://schemas.openxmlformats.org/officeDocument/2006/relationships/image" Target="../media/image26.svg"/><Relationship Id="rId5" Type="http://schemas.openxmlformats.org/officeDocument/2006/relationships/image" Target="../media/image2.emf"/><Relationship Id="rId15" Type="http://schemas.openxmlformats.org/officeDocument/2006/relationships/image" Target="../media/image30.png"/><Relationship Id="rId10" Type="http://schemas.openxmlformats.org/officeDocument/2006/relationships/image" Target="../media/image25.png"/><Relationship Id="rId4" Type="http://schemas.openxmlformats.org/officeDocument/2006/relationships/oleObject" Target="../embeddings/oleObject2.bin"/><Relationship Id="rId9" Type="http://schemas.openxmlformats.org/officeDocument/2006/relationships/image" Target="../media/image24.png"/><Relationship Id="rId1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reeform 42">
            <a:extLst>
              <a:ext uri="{FF2B5EF4-FFF2-40B4-BE49-F238E27FC236}">
                <a16:creationId xmlns:a16="http://schemas.microsoft.com/office/drawing/2014/main" id="{B32E212B-355F-24E7-4F69-B7014829DC30}"/>
              </a:ext>
            </a:extLst>
          </p:cNvPr>
          <p:cNvSpPr/>
          <p:nvPr/>
        </p:nvSpPr>
        <p:spPr>
          <a:xfrm flipH="1">
            <a:off x="-1" y="6073144"/>
            <a:ext cx="7214757" cy="661241"/>
          </a:xfrm>
          <a:custGeom>
            <a:avLst/>
            <a:gdLst>
              <a:gd name="connsiteX0" fmla="*/ 68882 w 6096000"/>
              <a:gd name="connsiteY0" fmla="*/ 0 h 1059072"/>
              <a:gd name="connsiteX1" fmla="*/ 6096000 w 6096000"/>
              <a:gd name="connsiteY1" fmla="*/ 0 h 1059072"/>
              <a:gd name="connsiteX2" fmla="*/ 6096000 w 6096000"/>
              <a:gd name="connsiteY2" fmla="*/ 1059072 h 1059072"/>
              <a:gd name="connsiteX3" fmla="*/ 68882 w 6096000"/>
              <a:gd name="connsiteY3" fmla="*/ 1059072 h 1059072"/>
              <a:gd name="connsiteX4" fmla="*/ 0 w 6096000"/>
              <a:gd name="connsiteY4" fmla="*/ 990190 h 1059072"/>
              <a:gd name="connsiteX5" fmla="*/ 0 w 6096000"/>
              <a:gd name="connsiteY5" fmla="*/ 68882 h 1059072"/>
              <a:gd name="connsiteX6" fmla="*/ 68882 w 6096000"/>
              <a:gd name="connsiteY6" fmla="*/ 0 h 1059072"/>
              <a:gd name="connsiteX0" fmla="*/ 118708 w 6096000"/>
              <a:gd name="connsiteY0" fmla="*/ 4827 h 1059072"/>
              <a:gd name="connsiteX1" fmla="*/ 6096000 w 6096000"/>
              <a:gd name="connsiteY1" fmla="*/ 0 h 1059072"/>
              <a:gd name="connsiteX2" fmla="*/ 6096000 w 6096000"/>
              <a:gd name="connsiteY2" fmla="*/ 1059072 h 1059072"/>
              <a:gd name="connsiteX3" fmla="*/ 68882 w 6096000"/>
              <a:gd name="connsiteY3" fmla="*/ 1059072 h 1059072"/>
              <a:gd name="connsiteX4" fmla="*/ 0 w 6096000"/>
              <a:gd name="connsiteY4" fmla="*/ 990190 h 1059072"/>
              <a:gd name="connsiteX5" fmla="*/ 0 w 6096000"/>
              <a:gd name="connsiteY5" fmla="*/ 68882 h 1059072"/>
              <a:gd name="connsiteX6" fmla="*/ 118708 w 6096000"/>
              <a:gd name="connsiteY6" fmla="*/ 4827 h 1059072"/>
              <a:gd name="connsiteX0" fmla="*/ 118708 w 6096000"/>
              <a:gd name="connsiteY0" fmla="*/ 4827 h 1059072"/>
              <a:gd name="connsiteX1" fmla="*/ 6096000 w 6096000"/>
              <a:gd name="connsiteY1" fmla="*/ 0 h 1059072"/>
              <a:gd name="connsiteX2" fmla="*/ 6096000 w 6096000"/>
              <a:gd name="connsiteY2" fmla="*/ 1059072 h 1059072"/>
              <a:gd name="connsiteX3" fmla="*/ 0 w 6096000"/>
              <a:gd name="connsiteY3" fmla="*/ 990190 h 1059072"/>
              <a:gd name="connsiteX4" fmla="*/ 0 w 6096000"/>
              <a:gd name="connsiteY4" fmla="*/ 68882 h 1059072"/>
              <a:gd name="connsiteX5" fmla="*/ 118708 w 6096000"/>
              <a:gd name="connsiteY5" fmla="*/ 4827 h 1059072"/>
              <a:gd name="connsiteX0" fmla="*/ 118708 w 6096000"/>
              <a:gd name="connsiteY0" fmla="*/ 4827 h 1060184"/>
              <a:gd name="connsiteX1" fmla="*/ 6096000 w 6096000"/>
              <a:gd name="connsiteY1" fmla="*/ 0 h 1060184"/>
              <a:gd name="connsiteX2" fmla="*/ 6096000 w 6096000"/>
              <a:gd name="connsiteY2" fmla="*/ 1059072 h 1060184"/>
              <a:gd name="connsiteX3" fmla="*/ 0 w 6096000"/>
              <a:gd name="connsiteY3" fmla="*/ 1060184 h 1060184"/>
              <a:gd name="connsiteX4" fmla="*/ 0 w 6096000"/>
              <a:gd name="connsiteY4" fmla="*/ 68882 h 1060184"/>
              <a:gd name="connsiteX5" fmla="*/ 118708 w 6096000"/>
              <a:gd name="connsiteY5" fmla="*/ 4827 h 106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1060184">
                <a:moveTo>
                  <a:pt x="118708" y="4827"/>
                </a:moveTo>
                <a:lnTo>
                  <a:pt x="6096000" y="0"/>
                </a:lnTo>
                <a:lnTo>
                  <a:pt x="6096000" y="1059072"/>
                </a:lnTo>
                <a:lnTo>
                  <a:pt x="0" y="1060184"/>
                </a:lnTo>
                <a:lnTo>
                  <a:pt x="0" y="68882"/>
                </a:lnTo>
                <a:cubicBezTo>
                  <a:pt x="0" y="30840"/>
                  <a:pt x="80666" y="4827"/>
                  <a:pt x="118708" y="4827"/>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57A"/>
              </a:solidFill>
              <a:effectLst/>
              <a:uLnTx/>
              <a:uFillTx/>
              <a:latin typeface="Lato" panose="020F0502020204030203" pitchFamily="34" charset="77"/>
              <a:ea typeface="+mn-ea"/>
              <a:cs typeface="+mn-cs"/>
            </a:endParaRPr>
          </a:p>
        </p:txBody>
      </p:sp>
      <p:graphicFrame>
        <p:nvGraphicFramePr>
          <p:cNvPr id="3" name="Object 2" hidden="1">
            <a:extLst>
              <a:ext uri="{FF2B5EF4-FFF2-40B4-BE49-F238E27FC236}">
                <a16:creationId xmlns:a16="http://schemas.microsoft.com/office/drawing/2014/main" id="{83087BEA-C10E-459C-A71A-B9CC4ABE1D8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83087BEA-C10E-459C-A71A-B9CC4ABE1D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object 7">
            <a:extLst>
              <a:ext uri="{FF2B5EF4-FFF2-40B4-BE49-F238E27FC236}">
                <a16:creationId xmlns:a16="http://schemas.microsoft.com/office/drawing/2014/main" id="{992D9468-EFC6-40B6-AA06-C636A478BF0E}"/>
              </a:ext>
            </a:extLst>
          </p:cNvPr>
          <p:cNvSpPr/>
          <p:nvPr/>
        </p:nvSpPr>
        <p:spPr>
          <a:xfrm rot="13592922">
            <a:off x="7142405" y="-633003"/>
            <a:ext cx="5363027" cy="4080891"/>
          </a:xfrm>
          <a:custGeom>
            <a:avLst/>
            <a:gdLst>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577790 w 5889610"/>
              <a:gd name="connsiteY0" fmla="*/ 4264910 h 4264910"/>
              <a:gd name="connsiteX1" fmla="*/ 5607037 w 5889610"/>
              <a:gd name="connsiteY1" fmla="*/ 4205201 h 4264910"/>
              <a:gd name="connsiteX2" fmla="*/ 5626144 w 5889610"/>
              <a:gd name="connsiteY2" fmla="*/ 4164093 h 4264910"/>
              <a:gd name="connsiteX3" fmla="*/ 5644634 w 5889610"/>
              <a:gd name="connsiteY3" fmla="*/ 4122645 h 4264910"/>
              <a:gd name="connsiteX4" fmla="*/ 5662502 w 5889610"/>
              <a:gd name="connsiteY4" fmla="*/ 4080862 h 4264910"/>
              <a:gd name="connsiteX5" fmla="*/ 5679741 w 5889610"/>
              <a:gd name="connsiteY5" fmla="*/ 4038750 h 4264910"/>
              <a:gd name="connsiteX6" fmla="*/ 5696346 w 5889610"/>
              <a:gd name="connsiteY6" fmla="*/ 3996315 h 4264910"/>
              <a:gd name="connsiteX7" fmla="*/ 5712311 w 5889610"/>
              <a:gd name="connsiteY7" fmla="*/ 3953563 h 4264910"/>
              <a:gd name="connsiteX8" fmla="*/ 5727629 w 5889610"/>
              <a:gd name="connsiteY8" fmla="*/ 3910499 h 4264910"/>
              <a:gd name="connsiteX9" fmla="*/ 5742296 w 5889610"/>
              <a:gd name="connsiteY9" fmla="*/ 3867130 h 4264910"/>
              <a:gd name="connsiteX10" fmla="*/ 5756304 w 5889610"/>
              <a:gd name="connsiteY10" fmla="*/ 3823462 h 4264910"/>
              <a:gd name="connsiteX11" fmla="*/ 5769649 w 5889610"/>
              <a:gd name="connsiteY11" fmla="*/ 3779500 h 4264910"/>
              <a:gd name="connsiteX12" fmla="*/ 5782324 w 5889610"/>
              <a:gd name="connsiteY12" fmla="*/ 3735250 h 4264910"/>
              <a:gd name="connsiteX13" fmla="*/ 5794323 w 5889610"/>
              <a:gd name="connsiteY13" fmla="*/ 3690717 h 4264910"/>
              <a:gd name="connsiteX14" fmla="*/ 5805641 w 5889610"/>
              <a:gd name="connsiteY14" fmla="*/ 3645909 h 4264910"/>
              <a:gd name="connsiteX15" fmla="*/ 5826208 w 5889610"/>
              <a:gd name="connsiteY15" fmla="*/ 3555488 h 4264910"/>
              <a:gd name="connsiteX16" fmla="*/ 5835445 w 5889610"/>
              <a:gd name="connsiteY16" fmla="*/ 3509887 h 4264910"/>
              <a:gd name="connsiteX17" fmla="*/ 5843978 w 5889610"/>
              <a:gd name="connsiteY17" fmla="*/ 3464033 h 4264910"/>
              <a:gd name="connsiteX18" fmla="*/ 5851799 w 5889610"/>
              <a:gd name="connsiteY18" fmla="*/ 3417933 h 4264910"/>
              <a:gd name="connsiteX19" fmla="*/ 5858904 w 5889610"/>
              <a:gd name="connsiteY19" fmla="*/ 3371591 h 4264910"/>
              <a:gd name="connsiteX20" fmla="*/ 5865285 w 5889610"/>
              <a:gd name="connsiteY20" fmla="*/ 3325015 h 4264910"/>
              <a:gd name="connsiteX21" fmla="*/ 5870938 w 5889610"/>
              <a:gd name="connsiteY21" fmla="*/ 3278209 h 4264910"/>
              <a:gd name="connsiteX22" fmla="*/ 5875857 w 5889610"/>
              <a:gd name="connsiteY22" fmla="*/ 3231180 h 4264910"/>
              <a:gd name="connsiteX23" fmla="*/ 5880035 w 5889610"/>
              <a:gd name="connsiteY23" fmla="*/ 3183934 h 4264910"/>
              <a:gd name="connsiteX24" fmla="*/ 5883466 w 5889610"/>
              <a:gd name="connsiteY24" fmla="*/ 3136476 h 4264910"/>
              <a:gd name="connsiteX25" fmla="*/ 5886146 w 5889610"/>
              <a:gd name="connsiteY25" fmla="*/ 3088813 h 4264910"/>
              <a:gd name="connsiteX26" fmla="*/ 5888067 w 5889610"/>
              <a:gd name="connsiteY26" fmla="*/ 3040949 h 4264910"/>
              <a:gd name="connsiteX27" fmla="*/ 5889223 w 5889610"/>
              <a:gd name="connsiteY27" fmla="*/ 2992892 h 4264910"/>
              <a:gd name="connsiteX28" fmla="*/ 5889610 w 5889610"/>
              <a:gd name="connsiteY28" fmla="*/ 2944647 h 4264910"/>
              <a:gd name="connsiteX29" fmla="*/ 5889223 w 5889610"/>
              <a:gd name="connsiteY29" fmla="*/ 2896411 h 4264910"/>
              <a:gd name="connsiteX30" fmla="*/ 5888067 w 5889610"/>
              <a:gd name="connsiteY30" fmla="*/ 2848362 h 4264910"/>
              <a:gd name="connsiteX31" fmla="*/ 5886146 w 5889610"/>
              <a:gd name="connsiteY31" fmla="*/ 2800508 h 4264910"/>
              <a:gd name="connsiteX32" fmla="*/ 5883466 w 5889610"/>
              <a:gd name="connsiteY32" fmla="*/ 2752853 h 4264910"/>
              <a:gd name="connsiteX33" fmla="*/ 5880035 w 5889610"/>
              <a:gd name="connsiteY33" fmla="*/ 2705404 h 4264910"/>
              <a:gd name="connsiteX34" fmla="*/ 5875857 w 5889610"/>
              <a:gd name="connsiteY34" fmla="*/ 2658166 h 4264910"/>
              <a:gd name="connsiteX35" fmla="*/ 5870938 w 5889610"/>
              <a:gd name="connsiteY35" fmla="*/ 2611145 h 4264910"/>
              <a:gd name="connsiteX36" fmla="*/ 5865285 w 5889610"/>
              <a:gd name="connsiteY36" fmla="*/ 2564347 h 4264910"/>
              <a:gd name="connsiteX37" fmla="*/ 5858904 w 5889610"/>
              <a:gd name="connsiteY37" fmla="*/ 2517779 h 4264910"/>
              <a:gd name="connsiteX38" fmla="*/ 5851799 w 5889610"/>
              <a:gd name="connsiteY38" fmla="*/ 2471445 h 4264910"/>
              <a:gd name="connsiteX39" fmla="*/ 5843978 w 5889610"/>
              <a:gd name="connsiteY39" fmla="*/ 2425352 h 4264910"/>
              <a:gd name="connsiteX40" fmla="*/ 5835445 w 5889610"/>
              <a:gd name="connsiteY40" fmla="*/ 2379505 h 4264910"/>
              <a:gd name="connsiteX41" fmla="*/ 5826208 w 5889610"/>
              <a:gd name="connsiteY41" fmla="*/ 2333911 h 4264910"/>
              <a:gd name="connsiteX42" fmla="*/ 5816271 w 5889610"/>
              <a:gd name="connsiteY42" fmla="*/ 2288575 h 4264910"/>
              <a:gd name="connsiteX43" fmla="*/ 5805641 w 5889610"/>
              <a:gd name="connsiteY43" fmla="*/ 2243504 h 4264910"/>
              <a:gd name="connsiteX44" fmla="*/ 5794323 w 5889610"/>
              <a:gd name="connsiteY44" fmla="*/ 2198702 h 4264910"/>
              <a:gd name="connsiteX45" fmla="*/ 5782324 w 5889610"/>
              <a:gd name="connsiteY45" fmla="*/ 2154177 h 4264910"/>
              <a:gd name="connsiteX46" fmla="*/ 5769649 w 5889610"/>
              <a:gd name="connsiteY46" fmla="*/ 2109933 h 4264910"/>
              <a:gd name="connsiteX47" fmla="*/ 5756304 w 5889610"/>
              <a:gd name="connsiteY47" fmla="*/ 2065977 h 4264910"/>
              <a:gd name="connsiteX48" fmla="*/ 5742296 w 5889610"/>
              <a:gd name="connsiteY48" fmla="*/ 2022315 h 4264910"/>
              <a:gd name="connsiteX49" fmla="*/ 5727629 w 5889610"/>
              <a:gd name="connsiteY49" fmla="*/ 1978952 h 4264910"/>
              <a:gd name="connsiteX50" fmla="*/ 5712311 w 5889610"/>
              <a:gd name="connsiteY50" fmla="*/ 1935894 h 4264910"/>
              <a:gd name="connsiteX51" fmla="*/ 5696346 w 5889610"/>
              <a:gd name="connsiteY51" fmla="*/ 1893147 h 4264910"/>
              <a:gd name="connsiteX52" fmla="*/ 5679741 w 5889610"/>
              <a:gd name="connsiteY52" fmla="*/ 1850718 h 4264910"/>
              <a:gd name="connsiteX53" fmla="*/ 5662502 w 5889610"/>
              <a:gd name="connsiteY53" fmla="*/ 1808611 h 4264910"/>
              <a:gd name="connsiteX54" fmla="*/ 5644634 w 5889610"/>
              <a:gd name="connsiteY54" fmla="*/ 1766833 h 4264910"/>
              <a:gd name="connsiteX55" fmla="*/ 5626144 w 5889610"/>
              <a:gd name="connsiteY55" fmla="*/ 1725390 h 4264910"/>
              <a:gd name="connsiteX56" fmla="*/ 5607037 w 5889610"/>
              <a:gd name="connsiteY56" fmla="*/ 1684288 h 4264910"/>
              <a:gd name="connsiteX57" fmla="*/ 5587319 w 5889610"/>
              <a:gd name="connsiteY57" fmla="*/ 1643531 h 4264910"/>
              <a:gd name="connsiteX58" fmla="*/ 5566997 w 5889610"/>
              <a:gd name="connsiteY58" fmla="*/ 1603127 h 4264910"/>
              <a:gd name="connsiteX59" fmla="*/ 5546075 w 5889610"/>
              <a:gd name="connsiteY59" fmla="*/ 1563082 h 4264910"/>
              <a:gd name="connsiteX60" fmla="*/ 5524560 w 5889610"/>
              <a:gd name="connsiteY60" fmla="*/ 1523400 h 4264910"/>
              <a:gd name="connsiteX61" fmla="*/ 5502458 w 5889610"/>
              <a:gd name="connsiteY61" fmla="*/ 1484088 h 4264910"/>
              <a:gd name="connsiteX62" fmla="*/ 5479775 w 5889610"/>
              <a:gd name="connsiteY62" fmla="*/ 1445152 h 4264910"/>
              <a:gd name="connsiteX63" fmla="*/ 5456516 w 5889610"/>
              <a:gd name="connsiteY63" fmla="*/ 1406597 h 4264910"/>
              <a:gd name="connsiteX64" fmla="*/ 5432688 w 5889610"/>
              <a:gd name="connsiteY64" fmla="*/ 1368430 h 4264910"/>
              <a:gd name="connsiteX65" fmla="*/ 5408296 w 5889610"/>
              <a:gd name="connsiteY65" fmla="*/ 1330656 h 4264910"/>
              <a:gd name="connsiteX66" fmla="*/ 5383346 w 5889610"/>
              <a:gd name="connsiteY66" fmla="*/ 1293282 h 4264910"/>
              <a:gd name="connsiteX67" fmla="*/ 5357845 w 5889610"/>
              <a:gd name="connsiteY67" fmla="*/ 1256313 h 4264910"/>
              <a:gd name="connsiteX68" fmla="*/ 5331797 w 5889610"/>
              <a:gd name="connsiteY68" fmla="*/ 1219754 h 4264910"/>
              <a:gd name="connsiteX69" fmla="*/ 5305210 w 5889610"/>
              <a:gd name="connsiteY69" fmla="*/ 1183613 h 4264910"/>
              <a:gd name="connsiteX70" fmla="*/ 5278088 w 5889610"/>
              <a:gd name="connsiteY70" fmla="*/ 1147894 h 4264910"/>
              <a:gd name="connsiteX71" fmla="*/ 5250438 w 5889610"/>
              <a:gd name="connsiteY71" fmla="*/ 1112604 h 4264910"/>
              <a:gd name="connsiteX72" fmla="*/ 5222266 w 5889610"/>
              <a:gd name="connsiteY72" fmla="*/ 1077748 h 4264910"/>
              <a:gd name="connsiteX73" fmla="*/ 5193577 w 5889610"/>
              <a:gd name="connsiteY73" fmla="*/ 1043332 h 4264910"/>
              <a:gd name="connsiteX74" fmla="*/ 5164378 w 5889610"/>
              <a:gd name="connsiteY74" fmla="*/ 1009363 h 4264910"/>
              <a:gd name="connsiteX75" fmla="*/ 5134674 w 5889610"/>
              <a:gd name="connsiteY75" fmla="*/ 975846 h 4264910"/>
              <a:gd name="connsiteX76" fmla="*/ 5104471 w 5889610"/>
              <a:gd name="connsiteY76" fmla="*/ 942787 h 4264910"/>
              <a:gd name="connsiteX77" fmla="*/ 5073776 w 5889610"/>
              <a:gd name="connsiteY77" fmla="*/ 910192 h 4264910"/>
              <a:gd name="connsiteX78" fmla="*/ 5042593 w 5889610"/>
              <a:gd name="connsiteY78" fmla="*/ 878066 h 4264910"/>
              <a:gd name="connsiteX79" fmla="*/ 5010930 w 5889610"/>
              <a:gd name="connsiteY79" fmla="*/ 846416 h 4264910"/>
              <a:gd name="connsiteX80" fmla="*/ 4978791 w 5889610"/>
              <a:gd name="connsiteY80" fmla="*/ 815247 h 4264910"/>
              <a:gd name="connsiteX81" fmla="*/ 4946183 w 5889610"/>
              <a:gd name="connsiteY81" fmla="*/ 784566 h 4264910"/>
              <a:gd name="connsiteX82" fmla="*/ 4913111 w 5889610"/>
              <a:gd name="connsiteY82" fmla="*/ 754377 h 4264910"/>
              <a:gd name="connsiteX83" fmla="*/ 4879582 w 5889610"/>
              <a:gd name="connsiteY83" fmla="*/ 724688 h 4264910"/>
              <a:gd name="connsiteX84" fmla="*/ 4845602 w 5889610"/>
              <a:gd name="connsiteY84" fmla="*/ 695504 h 4264910"/>
              <a:gd name="connsiteX85" fmla="*/ 4811176 w 5889610"/>
              <a:gd name="connsiteY85" fmla="*/ 666831 h 4264910"/>
              <a:gd name="connsiteX86" fmla="*/ 4776309 w 5889610"/>
              <a:gd name="connsiteY86" fmla="*/ 638674 h 4264910"/>
              <a:gd name="connsiteX87" fmla="*/ 4741009 w 5889610"/>
              <a:gd name="connsiteY87" fmla="*/ 611040 h 4264910"/>
              <a:gd name="connsiteX88" fmla="*/ 4705281 w 5889610"/>
              <a:gd name="connsiteY88" fmla="*/ 583934 h 4264910"/>
              <a:gd name="connsiteX89" fmla="*/ 4669131 w 5889610"/>
              <a:gd name="connsiteY89" fmla="*/ 557362 h 4264910"/>
              <a:gd name="connsiteX90" fmla="*/ 4632565 w 5889610"/>
              <a:gd name="connsiteY90" fmla="*/ 531331 h 4264910"/>
              <a:gd name="connsiteX91" fmla="*/ 4595588 w 5889610"/>
              <a:gd name="connsiteY91" fmla="*/ 505845 h 4264910"/>
              <a:gd name="connsiteX92" fmla="*/ 4558207 w 5889610"/>
              <a:gd name="connsiteY92" fmla="*/ 480912 h 4264910"/>
              <a:gd name="connsiteX93" fmla="*/ 4520427 w 5889610"/>
              <a:gd name="connsiteY93" fmla="*/ 456536 h 4264910"/>
              <a:gd name="connsiteX94" fmla="*/ 4482255 w 5889610"/>
              <a:gd name="connsiteY94" fmla="*/ 432724 h 4264910"/>
              <a:gd name="connsiteX95" fmla="*/ 4443696 w 5889610"/>
              <a:gd name="connsiteY95" fmla="*/ 409481 h 4264910"/>
              <a:gd name="connsiteX96" fmla="*/ 4404756 w 5889610"/>
              <a:gd name="connsiteY96" fmla="*/ 386814 h 4264910"/>
              <a:gd name="connsiteX97" fmla="*/ 4365441 w 5889610"/>
              <a:gd name="connsiteY97" fmla="*/ 364727 h 4264910"/>
              <a:gd name="connsiteX98" fmla="*/ 4325757 w 5889610"/>
              <a:gd name="connsiteY98" fmla="*/ 343228 h 4264910"/>
              <a:gd name="connsiteX99" fmla="*/ 4285710 w 5889610"/>
              <a:gd name="connsiteY99" fmla="*/ 322322 h 4264910"/>
              <a:gd name="connsiteX100" fmla="*/ 4245306 w 5889610"/>
              <a:gd name="connsiteY100" fmla="*/ 302015 h 4264910"/>
              <a:gd name="connsiteX101" fmla="*/ 4204550 w 5889610"/>
              <a:gd name="connsiteY101" fmla="*/ 282313 h 4264910"/>
              <a:gd name="connsiteX102" fmla="*/ 4163449 w 5889610"/>
              <a:gd name="connsiteY102" fmla="*/ 263221 h 4264910"/>
              <a:gd name="connsiteX103" fmla="*/ 4122008 w 5889610"/>
              <a:gd name="connsiteY103" fmla="*/ 244746 h 4264910"/>
              <a:gd name="connsiteX104" fmla="*/ 4080233 w 5889610"/>
              <a:gd name="connsiteY104" fmla="*/ 226893 h 4264910"/>
              <a:gd name="connsiteX105" fmla="*/ 4038131 w 5889610"/>
              <a:gd name="connsiteY105" fmla="*/ 209668 h 4264910"/>
              <a:gd name="connsiteX106" fmla="*/ 3995707 w 5889610"/>
              <a:gd name="connsiteY106" fmla="*/ 193077 h 4264910"/>
              <a:gd name="connsiteX107" fmla="*/ 3952967 w 5889610"/>
              <a:gd name="connsiteY107" fmla="*/ 177126 h 4264910"/>
              <a:gd name="connsiteX108" fmla="*/ 3909916 w 5889610"/>
              <a:gd name="connsiteY108" fmla="*/ 161821 h 4264910"/>
              <a:gd name="connsiteX109" fmla="*/ 3866562 w 5889610"/>
              <a:gd name="connsiteY109" fmla="*/ 147168 h 4264910"/>
              <a:gd name="connsiteX110" fmla="*/ 3822909 w 5889610"/>
              <a:gd name="connsiteY110" fmla="*/ 133172 h 4264910"/>
              <a:gd name="connsiteX111" fmla="*/ 3778964 w 5889610"/>
              <a:gd name="connsiteY111" fmla="*/ 119840 h 4264910"/>
              <a:gd name="connsiteX112" fmla="*/ 3734732 w 5889610"/>
              <a:gd name="connsiteY112" fmla="*/ 107177 h 4264910"/>
              <a:gd name="connsiteX113" fmla="*/ 3690220 w 5889610"/>
              <a:gd name="connsiteY113" fmla="*/ 95189 h 4264910"/>
              <a:gd name="connsiteX114" fmla="*/ 3645433 w 5889610"/>
              <a:gd name="connsiteY114" fmla="*/ 83883 h 4264910"/>
              <a:gd name="connsiteX115" fmla="*/ 3600377 w 5889610"/>
              <a:gd name="connsiteY115" fmla="*/ 73263 h 4264910"/>
              <a:gd name="connsiteX116" fmla="*/ 3555058 w 5889610"/>
              <a:gd name="connsiteY116" fmla="*/ 63336 h 4264910"/>
              <a:gd name="connsiteX117" fmla="*/ 3509482 w 5889610"/>
              <a:gd name="connsiteY117" fmla="*/ 54107 h 4264910"/>
              <a:gd name="connsiteX118" fmla="*/ 3463655 w 5889610"/>
              <a:gd name="connsiteY118" fmla="*/ 45584 h 4264910"/>
              <a:gd name="connsiteX119" fmla="*/ 3417583 w 5889610"/>
              <a:gd name="connsiteY119" fmla="*/ 37770 h 4264910"/>
              <a:gd name="connsiteX120" fmla="*/ 3371271 w 5889610"/>
              <a:gd name="connsiteY120" fmla="*/ 30673 h 4264910"/>
              <a:gd name="connsiteX121" fmla="*/ 3324726 w 5889610"/>
              <a:gd name="connsiteY121" fmla="*/ 24298 h 4264910"/>
              <a:gd name="connsiteX122" fmla="*/ 3277953 w 5889610"/>
              <a:gd name="connsiteY122" fmla="*/ 18651 h 4264910"/>
              <a:gd name="connsiteX123" fmla="*/ 3230959 w 5889610"/>
              <a:gd name="connsiteY123" fmla="*/ 13738 h 4264910"/>
              <a:gd name="connsiteX124" fmla="*/ 3183749 w 5889610"/>
              <a:gd name="connsiteY124" fmla="*/ 9564 h 4264910"/>
              <a:gd name="connsiteX125" fmla="*/ 3136329 w 5889610"/>
              <a:gd name="connsiteY125" fmla="*/ 6137 h 4264910"/>
              <a:gd name="connsiteX126" fmla="*/ 3088705 w 5889610"/>
              <a:gd name="connsiteY126" fmla="*/ 3461 h 4264910"/>
              <a:gd name="connsiteX127" fmla="*/ 3040883 w 5889610"/>
              <a:gd name="connsiteY127" fmla="*/ 1542 h 4264910"/>
              <a:gd name="connsiteX128" fmla="*/ 2992869 w 5889610"/>
              <a:gd name="connsiteY128" fmla="*/ 386 h 4264910"/>
              <a:gd name="connsiteX129" fmla="*/ 2944668 w 5889610"/>
              <a:gd name="connsiteY129" fmla="*/ 0 h 4264910"/>
              <a:gd name="connsiteX130" fmla="*/ 2896458 w 5889610"/>
              <a:gd name="connsiteY130" fmla="*/ 386 h 4264910"/>
              <a:gd name="connsiteX131" fmla="*/ 2848435 w 5889610"/>
              <a:gd name="connsiteY131" fmla="*/ 1542 h 4264910"/>
              <a:gd name="connsiteX132" fmla="*/ 2800604 w 5889610"/>
              <a:gd name="connsiteY132" fmla="*/ 3461 h 4264910"/>
              <a:gd name="connsiteX133" fmla="*/ 2752972 w 5889610"/>
              <a:gd name="connsiteY133" fmla="*/ 6137 h 4264910"/>
              <a:gd name="connsiteX134" fmla="*/ 2705544 w 5889610"/>
              <a:gd name="connsiteY134" fmla="*/ 9564 h 4264910"/>
              <a:gd name="connsiteX135" fmla="*/ 2658327 w 5889610"/>
              <a:gd name="connsiteY135" fmla="*/ 13738 h 4264910"/>
              <a:gd name="connsiteX136" fmla="*/ 2611326 w 5889610"/>
              <a:gd name="connsiteY136" fmla="*/ 18651 h 4264910"/>
              <a:gd name="connsiteX137" fmla="*/ 2564548 w 5889610"/>
              <a:gd name="connsiteY137" fmla="*/ 24298 h 4264910"/>
              <a:gd name="connsiteX138" fmla="*/ 2517997 w 5889610"/>
              <a:gd name="connsiteY138" fmla="*/ 30673 h 4264910"/>
              <a:gd name="connsiteX139" fmla="*/ 2471680 w 5889610"/>
              <a:gd name="connsiteY139" fmla="*/ 37770 h 4264910"/>
              <a:gd name="connsiteX140" fmla="*/ 2425603 w 5889610"/>
              <a:gd name="connsiteY140" fmla="*/ 45584 h 4264910"/>
              <a:gd name="connsiteX141" fmla="*/ 2379772 w 5889610"/>
              <a:gd name="connsiteY141" fmla="*/ 54107 h 4264910"/>
              <a:gd name="connsiteX142" fmla="*/ 2334192 w 5889610"/>
              <a:gd name="connsiteY142" fmla="*/ 63336 h 4264910"/>
              <a:gd name="connsiteX143" fmla="*/ 2288870 w 5889610"/>
              <a:gd name="connsiteY143" fmla="*/ 73263 h 4264910"/>
              <a:gd name="connsiteX144" fmla="*/ 2243811 w 5889610"/>
              <a:gd name="connsiteY144" fmla="*/ 83883 h 4264910"/>
              <a:gd name="connsiteX145" fmla="*/ 2199022 w 5889610"/>
              <a:gd name="connsiteY145" fmla="*/ 95189 h 4264910"/>
              <a:gd name="connsiteX146" fmla="*/ 2154507 w 5889610"/>
              <a:gd name="connsiteY146" fmla="*/ 107177 h 4264910"/>
              <a:gd name="connsiteX147" fmla="*/ 2110274 w 5889610"/>
              <a:gd name="connsiteY147" fmla="*/ 119840 h 4264910"/>
              <a:gd name="connsiteX148" fmla="*/ 2066327 w 5889610"/>
              <a:gd name="connsiteY148" fmla="*/ 133172 h 4264910"/>
              <a:gd name="connsiteX149" fmla="*/ 2022674 w 5889610"/>
              <a:gd name="connsiteY149" fmla="*/ 147168 h 4264910"/>
              <a:gd name="connsiteX150" fmla="*/ 1979319 w 5889610"/>
              <a:gd name="connsiteY150" fmla="*/ 161821 h 4264910"/>
              <a:gd name="connsiteX151" fmla="*/ 1936268 w 5889610"/>
              <a:gd name="connsiteY151" fmla="*/ 177126 h 4264910"/>
              <a:gd name="connsiteX152" fmla="*/ 1893528 w 5889610"/>
              <a:gd name="connsiteY152" fmla="*/ 193077 h 4264910"/>
              <a:gd name="connsiteX153" fmla="*/ 1851105 w 5889610"/>
              <a:gd name="connsiteY153" fmla="*/ 209668 h 4264910"/>
              <a:gd name="connsiteX154" fmla="*/ 1809003 w 5889610"/>
              <a:gd name="connsiteY154" fmla="*/ 226893 h 4264910"/>
              <a:gd name="connsiteX155" fmla="*/ 1767230 w 5889610"/>
              <a:gd name="connsiteY155" fmla="*/ 244746 h 4264910"/>
              <a:gd name="connsiteX156" fmla="*/ 1725791 w 5889610"/>
              <a:gd name="connsiteY156" fmla="*/ 263221 h 4264910"/>
              <a:gd name="connsiteX157" fmla="*/ 1684691 w 5889610"/>
              <a:gd name="connsiteY157" fmla="*/ 282313 h 4264910"/>
              <a:gd name="connsiteX158" fmla="*/ 1643938 w 5889610"/>
              <a:gd name="connsiteY158" fmla="*/ 302015 h 4264910"/>
              <a:gd name="connsiteX159" fmla="*/ 1603536 w 5889610"/>
              <a:gd name="connsiteY159" fmla="*/ 322322 h 4264910"/>
              <a:gd name="connsiteX160" fmla="*/ 1563492 w 5889610"/>
              <a:gd name="connsiteY160" fmla="*/ 343228 h 4264910"/>
              <a:gd name="connsiteX161" fmla="*/ 1523811 w 5889610"/>
              <a:gd name="connsiteY161" fmla="*/ 364727 h 4264910"/>
              <a:gd name="connsiteX162" fmla="*/ 1484499 w 5889610"/>
              <a:gd name="connsiteY162" fmla="*/ 386814 h 4264910"/>
              <a:gd name="connsiteX163" fmla="*/ 1445563 w 5889610"/>
              <a:gd name="connsiteY163" fmla="*/ 409481 h 4264910"/>
              <a:gd name="connsiteX164" fmla="*/ 1407007 w 5889610"/>
              <a:gd name="connsiteY164" fmla="*/ 432724 h 4264910"/>
              <a:gd name="connsiteX165" fmla="*/ 1368839 w 5889610"/>
              <a:gd name="connsiteY165" fmla="*/ 456536 h 4264910"/>
              <a:gd name="connsiteX166" fmla="*/ 1331064 w 5889610"/>
              <a:gd name="connsiteY166" fmla="*/ 480912 h 4264910"/>
              <a:gd name="connsiteX167" fmla="*/ 1293687 w 5889610"/>
              <a:gd name="connsiteY167" fmla="*/ 505845 h 4264910"/>
              <a:gd name="connsiteX168" fmla="*/ 1256715 w 5889610"/>
              <a:gd name="connsiteY168" fmla="*/ 531331 h 4264910"/>
              <a:gd name="connsiteX169" fmla="*/ 1220154 w 5889610"/>
              <a:gd name="connsiteY169" fmla="*/ 557362 h 4264910"/>
              <a:gd name="connsiteX170" fmla="*/ 1184009 w 5889610"/>
              <a:gd name="connsiteY170" fmla="*/ 583934 h 4264910"/>
              <a:gd name="connsiteX171" fmla="*/ 1148286 w 5889610"/>
              <a:gd name="connsiteY171" fmla="*/ 611040 h 4264910"/>
              <a:gd name="connsiteX172" fmla="*/ 1112991 w 5889610"/>
              <a:gd name="connsiteY172" fmla="*/ 638674 h 4264910"/>
              <a:gd name="connsiteX173" fmla="*/ 1078131 w 5889610"/>
              <a:gd name="connsiteY173" fmla="*/ 666831 h 4264910"/>
              <a:gd name="connsiteX174" fmla="*/ 1043710 w 5889610"/>
              <a:gd name="connsiteY174" fmla="*/ 695504 h 4264910"/>
              <a:gd name="connsiteX175" fmla="*/ 1009736 w 5889610"/>
              <a:gd name="connsiteY175" fmla="*/ 724688 h 4264910"/>
              <a:gd name="connsiteX176" fmla="*/ 976213 w 5889610"/>
              <a:gd name="connsiteY176" fmla="*/ 754377 h 4264910"/>
              <a:gd name="connsiteX177" fmla="*/ 943148 w 5889610"/>
              <a:gd name="connsiteY177" fmla="*/ 784566 h 4264910"/>
              <a:gd name="connsiteX178" fmla="*/ 910546 w 5889610"/>
              <a:gd name="connsiteY178" fmla="*/ 815247 h 4264910"/>
              <a:gd name="connsiteX179" fmla="*/ 878413 w 5889610"/>
              <a:gd name="connsiteY179" fmla="*/ 846416 h 4264910"/>
              <a:gd name="connsiteX180" fmla="*/ 846756 w 5889610"/>
              <a:gd name="connsiteY180" fmla="*/ 878066 h 4264910"/>
              <a:gd name="connsiteX181" fmla="*/ 815581 w 5889610"/>
              <a:gd name="connsiteY181" fmla="*/ 910192 h 4264910"/>
              <a:gd name="connsiteX182" fmla="*/ 784892 w 5889610"/>
              <a:gd name="connsiteY182" fmla="*/ 942787 h 4264910"/>
              <a:gd name="connsiteX183" fmla="*/ 754696 w 5889610"/>
              <a:gd name="connsiteY183" fmla="*/ 975846 h 4264910"/>
              <a:gd name="connsiteX184" fmla="*/ 724999 w 5889610"/>
              <a:gd name="connsiteY184" fmla="*/ 1009363 h 4264910"/>
              <a:gd name="connsiteX185" fmla="*/ 695807 w 5889610"/>
              <a:gd name="connsiteY185" fmla="*/ 1043332 h 4264910"/>
              <a:gd name="connsiteX186" fmla="*/ 667125 w 5889610"/>
              <a:gd name="connsiteY186" fmla="*/ 1077748 h 4264910"/>
              <a:gd name="connsiteX187" fmla="*/ 638960 w 5889610"/>
              <a:gd name="connsiteY187" fmla="*/ 1112604 h 4264910"/>
              <a:gd name="connsiteX188" fmla="*/ 611317 w 5889610"/>
              <a:gd name="connsiteY188" fmla="*/ 1147894 h 4264910"/>
              <a:gd name="connsiteX189" fmla="*/ 584202 w 5889610"/>
              <a:gd name="connsiteY189" fmla="*/ 1183613 h 4264910"/>
              <a:gd name="connsiteX190" fmla="*/ 557622 w 5889610"/>
              <a:gd name="connsiteY190" fmla="*/ 1219754 h 4264910"/>
              <a:gd name="connsiteX191" fmla="*/ 531582 w 5889610"/>
              <a:gd name="connsiteY191" fmla="*/ 1256313 h 4264910"/>
              <a:gd name="connsiteX192" fmla="*/ 506087 w 5889610"/>
              <a:gd name="connsiteY192" fmla="*/ 1293282 h 4264910"/>
              <a:gd name="connsiteX193" fmla="*/ 481145 w 5889610"/>
              <a:gd name="connsiteY193" fmla="*/ 1330656 h 4264910"/>
              <a:gd name="connsiteX194" fmla="*/ 456760 w 5889610"/>
              <a:gd name="connsiteY194" fmla="*/ 1368430 h 4264910"/>
              <a:gd name="connsiteX195" fmla="*/ 432939 w 5889610"/>
              <a:gd name="connsiteY195" fmla="*/ 1406597 h 4264910"/>
              <a:gd name="connsiteX196" fmla="*/ 409687 w 5889610"/>
              <a:gd name="connsiteY196" fmla="*/ 1445152 h 4264910"/>
              <a:gd name="connsiteX197" fmla="*/ 387011 w 5889610"/>
              <a:gd name="connsiteY197" fmla="*/ 1484088 h 4264910"/>
              <a:gd name="connsiteX198" fmla="*/ 364915 w 5889610"/>
              <a:gd name="connsiteY198" fmla="*/ 1523400 h 4264910"/>
              <a:gd name="connsiteX199" fmla="*/ 343407 w 5889610"/>
              <a:gd name="connsiteY199" fmla="*/ 1563082 h 4264910"/>
              <a:gd name="connsiteX200" fmla="*/ 322492 w 5889610"/>
              <a:gd name="connsiteY200" fmla="*/ 1603127 h 4264910"/>
              <a:gd name="connsiteX201" fmla="*/ 302176 w 5889610"/>
              <a:gd name="connsiteY201" fmla="*/ 1643531 h 4264910"/>
              <a:gd name="connsiteX202" fmla="*/ 282465 w 5889610"/>
              <a:gd name="connsiteY202" fmla="*/ 1684288 h 4264910"/>
              <a:gd name="connsiteX203" fmla="*/ 263365 w 5889610"/>
              <a:gd name="connsiteY203" fmla="*/ 1725390 h 4264910"/>
              <a:gd name="connsiteX204" fmla="*/ 244881 w 5889610"/>
              <a:gd name="connsiteY204" fmla="*/ 1766833 h 4264910"/>
              <a:gd name="connsiteX205" fmla="*/ 227019 w 5889610"/>
              <a:gd name="connsiteY205" fmla="*/ 1808611 h 4264910"/>
              <a:gd name="connsiteX206" fmla="*/ 209786 w 5889610"/>
              <a:gd name="connsiteY206" fmla="*/ 1850718 h 4264910"/>
              <a:gd name="connsiteX207" fmla="*/ 193187 w 5889610"/>
              <a:gd name="connsiteY207" fmla="*/ 1893147 h 4264910"/>
              <a:gd name="connsiteX208" fmla="*/ 177228 w 5889610"/>
              <a:gd name="connsiteY208" fmla="*/ 1935894 h 4264910"/>
              <a:gd name="connsiteX209" fmla="*/ 161915 w 5889610"/>
              <a:gd name="connsiteY209" fmla="*/ 1978952 h 4264910"/>
              <a:gd name="connsiteX210" fmla="*/ 147254 w 5889610"/>
              <a:gd name="connsiteY210" fmla="*/ 2022315 h 4264910"/>
              <a:gd name="connsiteX211" fmla="*/ 133251 w 5889610"/>
              <a:gd name="connsiteY211" fmla="*/ 2065977 h 4264910"/>
              <a:gd name="connsiteX212" fmla="*/ 119912 w 5889610"/>
              <a:gd name="connsiteY212" fmla="*/ 2109933 h 4264910"/>
              <a:gd name="connsiteX213" fmla="*/ 107242 w 5889610"/>
              <a:gd name="connsiteY213" fmla="*/ 2154177 h 4264910"/>
              <a:gd name="connsiteX214" fmla="*/ 95247 w 5889610"/>
              <a:gd name="connsiteY214" fmla="*/ 2198702 h 4264910"/>
              <a:gd name="connsiteX215" fmla="*/ 83934 w 5889610"/>
              <a:gd name="connsiteY215" fmla="*/ 2243504 h 4264910"/>
              <a:gd name="connsiteX216" fmla="*/ 73308 w 5889610"/>
              <a:gd name="connsiteY216" fmla="*/ 2288575 h 4264910"/>
              <a:gd name="connsiteX217" fmla="*/ 63375 w 5889610"/>
              <a:gd name="connsiteY217" fmla="*/ 2333911 h 4264910"/>
              <a:gd name="connsiteX218" fmla="*/ 54141 w 5889610"/>
              <a:gd name="connsiteY218" fmla="*/ 2379505 h 4264910"/>
              <a:gd name="connsiteX219" fmla="*/ 45613 w 5889610"/>
              <a:gd name="connsiteY219" fmla="*/ 2425352 h 4264910"/>
              <a:gd name="connsiteX220" fmla="*/ 37794 w 5889610"/>
              <a:gd name="connsiteY220" fmla="*/ 2471445 h 4264910"/>
              <a:gd name="connsiteX221" fmla="*/ 30693 w 5889610"/>
              <a:gd name="connsiteY221" fmla="*/ 2517779 h 4264910"/>
              <a:gd name="connsiteX222" fmla="*/ 24314 w 5889610"/>
              <a:gd name="connsiteY222" fmla="*/ 2564347 h 4264910"/>
              <a:gd name="connsiteX223" fmla="*/ 18663 w 5889610"/>
              <a:gd name="connsiteY223" fmla="*/ 2611145 h 4264910"/>
              <a:gd name="connsiteX224" fmla="*/ 13747 w 5889610"/>
              <a:gd name="connsiteY224" fmla="*/ 2658166 h 4264910"/>
              <a:gd name="connsiteX225" fmla="*/ 9571 w 5889610"/>
              <a:gd name="connsiteY225" fmla="*/ 2705404 h 4264910"/>
              <a:gd name="connsiteX226" fmla="*/ 6141 w 5889610"/>
              <a:gd name="connsiteY226" fmla="*/ 2752853 h 4264910"/>
              <a:gd name="connsiteX227" fmla="*/ 3463 w 5889610"/>
              <a:gd name="connsiteY227" fmla="*/ 2800508 h 4264910"/>
              <a:gd name="connsiteX228" fmla="*/ 1543 w 5889610"/>
              <a:gd name="connsiteY228" fmla="*/ 2848362 h 4264910"/>
              <a:gd name="connsiteX229" fmla="*/ 386 w 5889610"/>
              <a:gd name="connsiteY229" fmla="*/ 2896411 h 4264910"/>
              <a:gd name="connsiteX230" fmla="*/ 0 w 5889610"/>
              <a:gd name="connsiteY230"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577790 w 5889610"/>
              <a:gd name="connsiteY0" fmla="*/ 4264910 h 4264910"/>
              <a:gd name="connsiteX1" fmla="*/ 5607037 w 5889610"/>
              <a:gd name="connsiteY1" fmla="*/ 4205201 h 4264910"/>
              <a:gd name="connsiteX2" fmla="*/ 5626144 w 5889610"/>
              <a:gd name="connsiteY2" fmla="*/ 4164093 h 4264910"/>
              <a:gd name="connsiteX3" fmla="*/ 5644634 w 5889610"/>
              <a:gd name="connsiteY3" fmla="*/ 4122645 h 4264910"/>
              <a:gd name="connsiteX4" fmla="*/ 5662502 w 5889610"/>
              <a:gd name="connsiteY4" fmla="*/ 4080862 h 4264910"/>
              <a:gd name="connsiteX5" fmla="*/ 5679741 w 5889610"/>
              <a:gd name="connsiteY5" fmla="*/ 4038750 h 4264910"/>
              <a:gd name="connsiteX6" fmla="*/ 5696346 w 5889610"/>
              <a:gd name="connsiteY6" fmla="*/ 3996315 h 4264910"/>
              <a:gd name="connsiteX7" fmla="*/ 5712311 w 5889610"/>
              <a:gd name="connsiteY7" fmla="*/ 3953563 h 4264910"/>
              <a:gd name="connsiteX8" fmla="*/ 5727629 w 5889610"/>
              <a:gd name="connsiteY8" fmla="*/ 3910499 h 4264910"/>
              <a:gd name="connsiteX9" fmla="*/ 5742296 w 5889610"/>
              <a:gd name="connsiteY9" fmla="*/ 3867130 h 4264910"/>
              <a:gd name="connsiteX10" fmla="*/ 5756304 w 5889610"/>
              <a:gd name="connsiteY10" fmla="*/ 3823462 h 4264910"/>
              <a:gd name="connsiteX11" fmla="*/ 5769649 w 5889610"/>
              <a:gd name="connsiteY11" fmla="*/ 3779500 h 4264910"/>
              <a:gd name="connsiteX12" fmla="*/ 5782324 w 5889610"/>
              <a:gd name="connsiteY12" fmla="*/ 3735250 h 4264910"/>
              <a:gd name="connsiteX13" fmla="*/ 5794323 w 5889610"/>
              <a:gd name="connsiteY13" fmla="*/ 3690717 h 4264910"/>
              <a:gd name="connsiteX14" fmla="*/ 5826208 w 5889610"/>
              <a:gd name="connsiteY14" fmla="*/ 3555488 h 4264910"/>
              <a:gd name="connsiteX15" fmla="*/ 5835445 w 5889610"/>
              <a:gd name="connsiteY15" fmla="*/ 3509887 h 4264910"/>
              <a:gd name="connsiteX16" fmla="*/ 5843978 w 5889610"/>
              <a:gd name="connsiteY16" fmla="*/ 3464033 h 4264910"/>
              <a:gd name="connsiteX17" fmla="*/ 5851799 w 5889610"/>
              <a:gd name="connsiteY17" fmla="*/ 3417933 h 4264910"/>
              <a:gd name="connsiteX18" fmla="*/ 5858904 w 5889610"/>
              <a:gd name="connsiteY18" fmla="*/ 3371591 h 4264910"/>
              <a:gd name="connsiteX19" fmla="*/ 5865285 w 5889610"/>
              <a:gd name="connsiteY19" fmla="*/ 3325015 h 4264910"/>
              <a:gd name="connsiteX20" fmla="*/ 5870938 w 5889610"/>
              <a:gd name="connsiteY20" fmla="*/ 3278209 h 4264910"/>
              <a:gd name="connsiteX21" fmla="*/ 5875857 w 5889610"/>
              <a:gd name="connsiteY21" fmla="*/ 3231180 h 4264910"/>
              <a:gd name="connsiteX22" fmla="*/ 5880035 w 5889610"/>
              <a:gd name="connsiteY22" fmla="*/ 3183934 h 4264910"/>
              <a:gd name="connsiteX23" fmla="*/ 5883466 w 5889610"/>
              <a:gd name="connsiteY23" fmla="*/ 3136476 h 4264910"/>
              <a:gd name="connsiteX24" fmla="*/ 5886146 w 5889610"/>
              <a:gd name="connsiteY24" fmla="*/ 3088813 h 4264910"/>
              <a:gd name="connsiteX25" fmla="*/ 5888067 w 5889610"/>
              <a:gd name="connsiteY25" fmla="*/ 3040949 h 4264910"/>
              <a:gd name="connsiteX26" fmla="*/ 5889223 w 5889610"/>
              <a:gd name="connsiteY26" fmla="*/ 2992892 h 4264910"/>
              <a:gd name="connsiteX27" fmla="*/ 5889610 w 5889610"/>
              <a:gd name="connsiteY27" fmla="*/ 2944647 h 4264910"/>
              <a:gd name="connsiteX28" fmla="*/ 5889223 w 5889610"/>
              <a:gd name="connsiteY28" fmla="*/ 2896411 h 4264910"/>
              <a:gd name="connsiteX29" fmla="*/ 5888067 w 5889610"/>
              <a:gd name="connsiteY29" fmla="*/ 2848362 h 4264910"/>
              <a:gd name="connsiteX30" fmla="*/ 5886146 w 5889610"/>
              <a:gd name="connsiteY30" fmla="*/ 2800508 h 4264910"/>
              <a:gd name="connsiteX31" fmla="*/ 5883466 w 5889610"/>
              <a:gd name="connsiteY31" fmla="*/ 2752853 h 4264910"/>
              <a:gd name="connsiteX32" fmla="*/ 5880035 w 5889610"/>
              <a:gd name="connsiteY32" fmla="*/ 2705404 h 4264910"/>
              <a:gd name="connsiteX33" fmla="*/ 5875857 w 5889610"/>
              <a:gd name="connsiteY33" fmla="*/ 2658166 h 4264910"/>
              <a:gd name="connsiteX34" fmla="*/ 5870938 w 5889610"/>
              <a:gd name="connsiteY34" fmla="*/ 2611145 h 4264910"/>
              <a:gd name="connsiteX35" fmla="*/ 5865285 w 5889610"/>
              <a:gd name="connsiteY35" fmla="*/ 2564347 h 4264910"/>
              <a:gd name="connsiteX36" fmla="*/ 5858904 w 5889610"/>
              <a:gd name="connsiteY36" fmla="*/ 2517779 h 4264910"/>
              <a:gd name="connsiteX37" fmla="*/ 5851799 w 5889610"/>
              <a:gd name="connsiteY37" fmla="*/ 2471445 h 4264910"/>
              <a:gd name="connsiteX38" fmla="*/ 5843978 w 5889610"/>
              <a:gd name="connsiteY38" fmla="*/ 2425352 h 4264910"/>
              <a:gd name="connsiteX39" fmla="*/ 5835445 w 5889610"/>
              <a:gd name="connsiteY39" fmla="*/ 2379505 h 4264910"/>
              <a:gd name="connsiteX40" fmla="*/ 5826208 w 5889610"/>
              <a:gd name="connsiteY40" fmla="*/ 2333911 h 4264910"/>
              <a:gd name="connsiteX41" fmla="*/ 5816271 w 5889610"/>
              <a:gd name="connsiteY41" fmla="*/ 2288575 h 4264910"/>
              <a:gd name="connsiteX42" fmla="*/ 5805641 w 5889610"/>
              <a:gd name="connsiteY42" fmla="*/ 2243504 h 4264910"/>
              <a:gd name="connsiteX43" fmla="*/ 5794323 w 5889610"/>
              <a:gd name="connsiteY43" fmla="*/ 2198702 h 4264910"/>
              <a:gd name="connsiteX44" fmla="*/ 5782324 w 5889610"/>
              <a:gd name="connsiteY44" fmla="*/ 2154177 h 4264910"/>
              <a:gd name="connsiteX45" fmla="*/ 5769649 w 5889610"/>
              <a:gd name="connsiteY45" fmla="*/ 2109933 h 4264910"/>
              <a:gd name="connsiteX46" fmla="*/ 5756304 w 5889610"/>
              <a:gd name="connsiteY46" fmla="*/ 2065977 h 4264910"/>
              <a:gd name="connsiteX47" fmla="*/ 5742296 w 5889610"/>
              <a:gd name="connsiteY47" fmla="*/ 2022315 h 4264910"/>
              <a:gd name="connsiteX48" fmla="*/ 5727629 w 5889610"/>
              <a:gd name="connsiteY48" fmla="*/ 1978952 h 4264910"/>
              <a:gd name="connsiteX49" fmla="*/ 5712311 w 5889610"/>
              <a:gd name="connsiteY49" fmla="*/ 1935894 h 4264910"/>
              <a:gd name="connsiteX50" fmla="*/ 5696346 w 5889610"/>
              <a:gd name="connsiteY50" fmla="*/ 1893147 h 4264910"/>
              <a:gd name="connsiteX51" fmla="*/ 5679741 w 5889610"/>
              <a:gd name="connsiteY51" fmla="*/ 1850718 h 4264910"/>
              <a:gd name="connsiteX52" fmla="*/ 5662502 w 5889610"/>
              <a:gd name="connsiteY52" fmla="*/ 1808611 h 4264910"/>
              <a:gd name="connsiteX53" fmla="*/ 5644634 w 5889610"/>
              <a:gd name="connsiteY53" fmla="*/ 1766833 h 4264910"/>
              <a:gd name="connsiteX54" fmla="*/ 5626144 w 5889610"/>
              <a:gd name="connsiteY54" fmla="*/ 1725390 h 4264910"/>
              <a:gd name="connsiteX55" fmla="*/ 5607037 w 5889610"/>
              <a:gd name="connsiteY55" fmla="*/ 1684288 h 4264910"/>
              <a:gd name="connsiteX56" fmla="*/ 5587319 w 5889610"/>
              <a:gd name="connsiteY56" fmla="*/ 1643531 h 4264910"/>
              <a:gd name="connsiteX57" fmla="*/ 5566997 w 5889610"/>
              <a:gd name="connsiteY57" fmla="*/ 1603127 h 4264910"/>
              <a:gd name="connsiteX58" fmla="*/ 5546075 w 5889610"/>
              <a:gd name="connsiteY58" fmla="*/ 1563082 h 4264910"/>
              <a:gd name="connsiteX59" fmla="*/ 5524560 w 5889610"/>
              <a:gd name="connsiteY59" fmla="*/ 1523400 h 4264910"/>
              <a:gd name="connsiteX60" fmla="*/ 5502458 w 5889610"/>
              <a:gd name="connsiteY60" fmla="*/ 1484088 h 4264910"/>
              <a:gd name="connsiteX61" fmla="*/ 5479775 w 5889610"/>
              <a:gd name="connsiteY61" fmla="*/ 1445152 h 4264910"/>
              <a:gd name="connsiteX62" fmla="*/ 5456516 w 5889610"/>
              <a:gd name="connsiteY62" fmla="*/ 1406597 h 4264910"/>
              <a:gd name="connsiteX63" fmla="*/ 5432688 w 5889610"/>
              <a:gd name="connsiteY63" fmla="*/ 1368430 h 4264910"/>
              <a:gd name="connsiteX64" fmla="*/ 5408296 w 5889610"/>
              <a:gd name="connsiteY64" fmla="*/ 1330656 h 4264910"/>
              <a:gd name="connsiteX65" fmla="*/ 5383346 w 5889610"/>
              <a:gd name="connsiteY65" fmla="*/ 1293282 h 4264910"/>
              <a:gd name="connsiteX66" fmla="*/ 5357845 w 5889610"/>
              <a:gd name="connsiteY66" fmla="*/ 1256313 h 4264910"/>
              <a:gd name="connsiteX67" fmla="*/ 5331797 w 5889610"/>
              <a:gd name="connsiteY67" fmla="*/ 1219754 h 4264910"/>
              <a:gd name="connsiteX68" fmla="*/ 5305210 w 5889610"/>
              <a:gd name="connsiteY68" fmla="*/ 1183613 h 4264910"/>
              <a:gd name="connsiteX69" fmla="*/ 5278088 w 5889610"/>
              <a:gd name="connsiteY69" fmla="*/ 1147894 h 4264910"/>
              <a:gd name="connsiteX70" fmla="*/ 5250438 w 5889610"/>
              <a:gd name="connsiteY70" fmla="*/ 1112604 h 4264910"/>
              <a:gd name="connsiteX71" fmla="*/ 5222266 w 5889610"/>
              <a:gd name="connsiteY71" fmla="*/ 1077748 h 4264910"/>
              <a:gd name="connsiteX72" fmla="*/ 5193577 w 5889610"/>
              <a:gd name="connsiteY72" fmla="*/ 1043332 h 4264910"/>
              <a:gd name="connsiteX73" fmla="*/ 5164378 w 5889610"/>
              <a:gd name="connsiteY73" fmla="*/ 1009363 h 4264910"/>
              <a:gd name="connsiteX74" fmla="*/ 5134674 w 5889610"/>
              <a:gd name="connsiteY74" fmla="*/ 975846 h 4264910"/>
              <a:gd name="connsiteX75" fmla="*/ 5104471 w 5889610"/>
              <a:gd name="connsiteY75" fmla="*/ 942787 h 4264910"/>
              <a:gd name="connsiteX76" fmla="*/ 5073776 w 5889610"/>
              <a:gd name="connsiteY76" fmla="*/ 910192 h 4264910"/>
              <a:gd name="connsiteX77" fmla="*/ 5042593 w 5889610"/>
              <a:gd name="connsiteY77" fmla="*/ 878066 h 4264910"/>
              <a:gd name="connsiteX78" fmla="*/ 5010930 w 5889610"/>
              <a:gd name="connsiteY78" fmla="*/ 846416 h 4264910"/>
              <a:gd name="connsiteX79" fmla="*/ 4978791 w 5889610"/>
              <a:gd name="connsiteY79" fmla="*/ 815247 h 4264910"/>
              <a:gd name="connsiteX80" fmla="*/ 4946183 w 5889610"/>
              <a:gd name="connsiteY80" fmla="*/ 784566 h 4264910"/>
              <a:gd name="connsiteX81" fmla="*/ 4913111 w 5889610"/>
              <a:gd name="connsiteY81" fmla="*/ 754377 h 4264910"/>
              <a:gd name="connsiteX82" fmla="*/ 4879582 w 5889610"/>
              <a:gd name="connsiteY82" fmla="*/ 724688 h 4264910"/>
              <a:gd name="connsiteX83" fmla="*/ 4845602 w 5889610"/>
              <a:gd name="connsiteY83" fmla="*/ 695504 h 4264910"/>
              <a:gd name="connsiteX84" fmla="*/ 4811176 w 5889610"/>
              <a:gd name="connsiteY84" fmla="*/ 666831 h 4264910"/>
              <a:gd name="connsiteX85" fmla="*/ 4776309 w 5889610"/>
              <a:gd name="connsiteY85" fmla="*/ 638674 h 4264910"/>
              <a:gd name="connsiteX86" fmla="*/ 4741009 w 5889610"/>
              <a:gd name="connsiteY86" fmla="*/ 611040 h 4264910"/>
              <a:gd name="connsiteX87" fmla="*/ 4705281 w 5889610"/>
              <a:gd name="connsiteY87" fmla="*/ 583934 h 4264910"/>
              <a:gd name="connsiteX88" fmla="*/ 4669131 w 5889610"/>
              <a:gd name="connsiteY88" fmla="*/ 557362 h 4264910"/>
              <a:gd name="connsiteX89" fmla="*/ 4632565 w 5889610"/>
              <a:gd name="connsiteY89" fmla="*/ 531331 h 4264910"/>
              <a:gd name="connsiteX90" fmla="*/ 4595588 w 5889610"/>
              <a:gd name="connsiteY90" fmla="*/ 505845 h 4264910"/>
              <a:gd name="connsiteX91" fmla="*/ 4558207 w 5889610"/>
              <a:gd name="connsiteY91" fmla="*/ 480912 h 4264910"/>
              <a:gd name="connsiteX92" fmla="*/ 4520427 w 5889610"/>
              <a:gd name="connsiteY92" fmla="*/ 456536 h 4264910"/>
              <a:gd name="connsiteX93" fmla="*/ 4482255 w 5889610"/>
              <a:gd name="connsiteY93" fmla="*/ 432724 h 4264910"/>
              <a:gd name="connsiteX94" fmla="*/ 4443696 w 5889610"/>
              <a:gd name="connsiteY94" fmla="*/ 409481 h 4264910"/>
              <a:gd name="connsiteX95" fmla="*/ 4404756 w 5889610"/>
              <a:gd name="connsiteY95" fmla="*/ 386814 h 4264910"/>
              <a:gd name="connsiteX96" fmla="*/ 4365441 w 5889610"/>
              <a:gd name="connsiteY96" fmla="*/ 364727 h 4264910"/>
              <a:gd name="connsiteX97" fmla="*/ 4325757 w 5889610"/>
              <a:gd name="connsiteY97" fmla="*/ 343228 h 4264910"/>
              <a:gd name="connsiteX98" fmla="*/ 4285710 w 5889610"/>
              <a:gd name="connsiteY98" fmla="*/ 322322 h 4264910"/>
              <a:gd name="connsiteX99" fmla="*/ 4245306 w 5889610"/>
              <a:gd name="connsiteY99" fmla="*/ 302015 h 4264910"/>
              <a:gd name="connsiteX100" fmla="*/ 4204550 w 5889610"/>
              <a:gd name="connsiteY100" fmla="*/ 282313 h 4264910"/>
              <a:gd name="connsiteX101" fmla="*/ 4163449 w 5889610"/>
              <a:gd name="connsiteY101" fmla="*/ 263221 h 4264910"/>
              <a:gd name="connsiteX102" fmla="*/ 4122008 w 5889610"/>
              <a:gd name="connsiteY102" fmla="*/ 244746 h 4264910"/>
              <a:gd name="connsiteX103" fmla="*/ 4080233 w 5889610"/>
              <a:gd name="connsiteY103" fmla="*/ 226893 h 4264910"/>
              <a:gd name="connsiteX104" fmla="*/ 4038131 w 5889610"/>
              <a:gd name="connsiteY104" fmla="*/ 209668 h 4264910"/>
              <a:gd name="connsiteX105" fmla="*/ 3995707 w 5889610"/>
              <a:gd name="connsiteY105" fmla="*/ 193077 h 4264910"/>
              <a:gd name="connsiteX106" fmla="*/ 3952967 w 5889610"/>
              <a:gd name="connsiteY106" fmla="*/ 177126 h 4264910"/>
              <a:gd name="connsiteX107" fmla="*/ 3909916 w 5889610"/>
              <a:gd name="connsiteY107" fmla="*/ 161821 h 4264910"/>
              <a:gd name="connsiteX108" fmla="*/ 3866562 w 5889610"/>
              <a:gd name="connsiteY108" fmla="*/ 147168 h 4264910"/>
              <a:gd name="connsiteX109" fmla="*/ 3822909 w 5889610"/>
              <a:gd name="connsiteY109" fmla="*/ 133172 h 4264910"/>
              <a:gd name="connsiteX110" fmla="*/ 3778964 w 5889610"/>
              <a:gd name="connsiteY110" fmla="*/ 119840 h 4264910"/>
              <a:gd name="connsiteX111" fmla="*/ 3734732 w 5889610"/>
              <a:gd name="connsiteY111" fmla="*/ 107177 h 4264910"/>
              <a:gd name="connsiteX112" fmla="*/ 3690220 w 5889610"/>
              <a:gd name="connsiteY112" fmla="*/ 95189 h 4264910"/>
              <a:gd name="connsiteX113" fmla="*/ 3645433 w 5889610"/>
              <a:gd name="connsiteY113" fmla="*/ 83883 h 4264910"/>
              <a:gd name="connsiteX114" fmla="*/ 3600377 w 5889610"/>
              <a:gd name="connsiteY114" fmla="*/ 73263 h 4264910"/>
              <a:gd name="connsiteX115" fmla="*/ 3555058 w 5889610"/>
              <a:gd name="connsiteY115" fmla="*/ 63336 h 4264910"/>
              <a:gd name="connsiteX116" fmla="*/ 3509482 w 5889610"/>
              <a:gd name="connsiteY116" fmla="*/ 54107 h 4264910"/>
              <a:gd name="connsiteX117" fmla="*/ 3463655 w 5889610"/>
              <a:gd name="connsiteY117" fmla="*/ 45584 h 4264910"/>
              <a:gd name="connsiteX118" fmla="*/ 3417583 w 5889610"/>
              <a:gd name="connsiteY118" fmla="*/ 37770 h 4264910"/>
              <a:gd name="connsiteX119" fmla="*/ 3371271 w 5889610"/>
              <a:gd name="connsiteY119" fmla="*/ 30673 h 4264910"/>
              <a:gd name="connsiteX120" fmla="*/ 3324726 w 5889610"/>
              <a:gd name="connsiteY120" fmla="*/ 24298 h 4264910"/>
              <a:gd name="connsiteX121" fmla="*/ 3277953 w 5889610"/>
              <a:gd name="connsiteY121" fmla="*/ 18651 h 4264910"/>
              <a:gd name="connsiteX122" fmla="*/ 3230959 w 5889610"/>
              <a:gd name="connsiteY122" fmla="*/ 13738 h 4264910"/>
              <a:gd name="connsiteX123" fmla="*/ 3183749 w 5889610"/>
              <a:gd name="connsiteY123" fmla="*/ 9564 h 4264910"/>
              <a:gd name="connsiteX124" fmla="*/ 3136329 w 5889610"/>
              <a:gd name="connsiteY124" fmla="*/ 6137 h 4264910"/>
              <a:gd name="connsiteX125" fmla="*/ 3088705 w 5889610"/>
              <a:gd name="connsiteY125" fmla="*/ 3461 h 4264910"/>
              <a:gd name="connsiteX126" fmla="*/ 3040883 w 5889610"/>
              <a:gd name="connsiteY126" fmla="*/ 1542 h 4264910"/>
              <a:gd name="connsiteX127" fmla="*/ 2992869 w 5889610"/>
              <a:gd name="connsiteY127" fmla="*/ 386 h 4264910"/>
              <a:gd name="connsiteX128" fmla="*/ 2944668 w 5889610"/>
              <a:gd name="connsiteY128" fmla="*/ 0 h 4264910"/>
              <a:gd name="connsiteX129" fmla="*/ 2896458 w 5889610"/>
              <a:gd name="connsiteY129" fmla="*/ 386 h 4264910"/>
              <a:gd name="connsiteX130" fmla="*/ 2848435 w 5889610"/>
              <a:gd name="connsiteY130" fmla="*/ 1542 h 4264910"/>
              <a:gd name="connsiteX131" fmla="*/ 2800604 w 5889610"/>
              <a:gd name="connsiteY131" fmla="*/ 3461 h 4264910"/>
              <a:gd name="connsiteX132" fmla="*/ 2752972 w 5889610"/>
              <a:gd name="connsiteY132" fmla="*/ 6137 h 4264910"/>
              <a:gd name="connsiteX133" fmla="*/ 2705544 w 5889610"/>
              <a:gd name="connsiteY133" fmla="*/ 9564 h 4264910"/>
              <a:gd name="connsiteX134" fmla="*/ 2658327 w 5889610"/>
              <a:gd name="connsiteY134" fmla="*/ 13738 h 4264910"/>
              <a:gd name="connsiteX135" fmla="*/ 2611326 w 5889610"/>
              <a:gd name="connsiteY135" fmla="*/ 18651 h 4264910"/>
              <a:gd name="connsiteX136" fmla="*/ 2564548 w 5889610"/>
              <a:gd name="connsiteY136" fmla="*/ 24298 h 4264910"/>
              <a:gd name="connsiteX137" fmla="*/ 2517997 w 5889610"/>
              <a:gd name="connsiteY137" fmla="*/ 30673 h 4264910"/>
              <a:gd name="connsiteX138" fmla="*/ 2471680 w 5889610"/>
              <a:gd name="connsiteY138" fmla="*/ 37770 h 4264910"/>
              <a:gd name="connsiteX139" fmla="*/ 2425603 w 5889610"/>
              <a:gd name="connsiteY139" fmla="*/ 45584 h 4264910"/>
              <a:gd name="connsiteX140" fmla="*/ 2379772 w 5889610"/>
              <a:gd name="connsiteY140" fmla="*/ 54107 h 4264910"/>
              <a:gd name="connsiteX141" fmla="*/ 2334192 w 5889610"/>
              <a:gd name="connsiteY141" fmla="*/ 63336 h 4264910"/>
              <a:gd name="connsiteX142" fmla="*/ 2288870 w 5889610"/>
              <a:gd name="connsiteY142" fmla="*/ 73263 h 4264910"/>
              <a:gd name="connsiteX143" fmla="*/ 2243811 w 5889610"/>
              <a:gd name="connsiteY143" fmla="*/ 83883 h 4264910"/>
              <a:gd name="connsiteX144" fmla="*/ 2199022 w 5889610"/>
              <a:gd name="connsiteY144" fmla="*/ 95189 h 4264910"/>
              <a:gd name="connsiteX145" fmla="*/ 2154507 w 5889610"/>
              <a:gd name="connsiteY145" fmla="*/ 107177 h 4264910"/>
              <a:gd name="connsiteX146" fmla="*/ 2110274 w 5889610"/>
              <a:gd name="connsiteY146" fmla="*/ 119840 h 4264910"/>
              <a:gd name="connsiteX147" fmla="*/ 2066327 w 5889610"/>
              <a:gd name="connsiteY147" fmla="*/ 133172 h 4264910"/>
              <a:gd name="connsiteX148" fmla="*/ 2022674 w 5889610"/>
              <a:gd name="connsiteY148" fmla="*/ 147168 h 4264910"/>
              <a:gd name="connsiteX149" fmla="*/ 1979319 w 5889610"/>
              <a:gd name="connsiteY149" fmla="*/ 161821 h 4264910"/>
              <a:gd name="connsiteX150" fmla="*/ 1936268 w 5889610"/>
              <a:gd name="connsiteY150" fmla="*/ 177126 h 4264910"/>
              <a:gd name="connsiteX151" fmla="*/ 1893528 w 5889610"/>
              <a:gd name="connsiteY151" fmla="*/ 193077 h 4264910"/>
              <a:gd name="connsiteX152" fmla="*/ 1851105 w 5889610"/>
              <a:gd name="connsiteY152" fmla="*/ 209668 h 4264910"/>
              <a:gd name="connsiteX153" fmla="*/ 1809003 w 5889610"/>
              <a:gd name="connsiteY153" fmla="*/ 226893 h 4264910"/>
              <a:gd name="connsiteX154" fmla="*/ 1767230 w 5889610"/>
              <a:gd name="connsiteY154" fmla="*/ 244746 h 4264910"/>
              <a:gd name="connsiteX155" fmla="*/ 1725791 w 5889610"/>
              <a:gd name="connsiteY155" fmla="*/ 263221 h 4264910"/>
              <a:gd name="connsiteX156" fmla="*/ 1684691 w 5889610"/>
              <a:gd name="connsiteY156" fmla="*/ 282313 h 4264910"/>
              <a:gd name="connsiteX157" fmla="*/ 1643938 w 5889610"/>
              <a:gd name="connsiteY157" fmla="*/ 302015 h 4264910"/>
              <a:gd name="connsiteX158" fmla="*/ 1603536 w 5889610"/>
              <a:gd name="connsiteY158" fmla="*/ 322322 h 4264910"/>
              <a:gd name="connsiteX159" fmla="*/ 1563492 w 5889610"/>
              <a:gd name="connsiteY159" fmla="*/ 343228 h 4264910"/>
              <a:gd name="connsiteX160" fmla="*/ 1523811 w 5889610"/>
              <a:gd name="connsiteY160" fmla="*/ 364727 h 4264910"/>
              <a:gd name="connsiteX161" fmla="*/ 1484499 w 5889610"/>
              <a:gd name="connsiteY161" fmla="*/ 386814 h 4264910"/>
              <a:gd name="connsiteX162" fmla="*/ 1445563 w 5889610"/>
              <a:gd name="connsiteY162" fmla="*/ 409481 h 4264910"/>
              <a:gd name="connsiteX163" fmla="*/ 1407007 w 5889610"/>
              <a:gd name="connsiteY163" fmla="*/ 432724 h 4264910"/>
              <a:gd name="connsiteX164" fmla="*/ 1368839 w 5889610"/>
              <a:gd name="connsiteY164" fmla="*/ 456536 h 4264910"/>
              <a:gd name="connsiteX165" fmla="*/ 1331064 w 5889610"/>
              <a:gd name="connsiteY165" fmla="*/ 480912 h 4264910"/>
              <a:gd name="connsiteX166" fmla="*/ 1293687 w 5889610"/>
              <a:gd name="connsiteY166" fmla="*/ 505845 h 4264910"/>
              <a:gd name="connsiteX167" fmla="*/ 1256715 w 5889610"/>
              <a:gd name="connsiteY167" fmla="*/ 531331 h 4264910"/>
              <a:gd name="connsiteX168" fmla="*/ 1220154 w 5889610"/>
              <a:gd name="connsiteY168" fmla="*/ 557362 h 4264910"/>
              <a:gd name="connsiteX169" fmla="*/ 1184009 w 5889610"/>
              <a:gd name="connsiteY169" fmla="*/ 583934 h 4264910"/>
              <a:gd name="connsiteX170" fmla="*/ 1148286 w 5889610"/>
              <a:gd name="connsiteY170" fmla="*/ 611040 h 4264910"/>
              <a:gd name="connsiteX171" fmla="*/ 1112991 w 5889610"/>
              <a:gd name="connsiteY171" fmla="*/ 638674 h 4264910"/>
              <a:gd name="connsiteX172" fmla="*/ 1078131 w 5889610"/>
              <a:gd name="connsiteY172" fmla="*/ 666831 h 4264910"/>
              <a:gd name="connsiteX173" fmla="*/ 1043710 w 5889610"/>
              <a:gd name="connsiteY173" fmla="*/ 695504 h 4264910"/>
              <a:gd name="connsiteX174" fmla="*/ 1009736 w 5889610"/>
              <a:gd name="connsiteY174" fmla="*/ 724688 h 4264910"/>
              <a:gd name="connsiteX175" fmla="*/ 976213 w 5889610"/>
              <a:gd name="connsiteY175" fmla="*/ 754377 h 4264910"/>
              <a:gd name="connsiteX176" fmla="*/ 943148 w 5889610"/>
              <a:gd name="connsiteY176" fmla="*/ 784566 h 4264910"/>
              <a:gd name="connsiteX177" fmla="*/ 910546 w 5889610"/>
              <a:gd name="connsiteY177" fmla="*/ 815247 h 4264910"/>
              <a:gd name="connsiteX178" fmla="*/ 878413 w 5889610"/>
              <a:gd name="connsiteY178" fmla="*/ 846416 h 4264910"/>
              <a:gd name="connsiteX179" fmla="*/ 846756 w 5889610"/>
              <a:gd name="connsiteY179" fmla="*/ 878066 h 4264910"/>
              <a:gd name="connsiteX180" fmla="*/ 815581 w 5889610"/>
              <a:gd name="connsiteY180" fmla="*/ 910192 h 4264910"/>
              <a:gd name="connsiteX181" fmla="*/ 784892 w 5889610"/>
              <a:gd name="connsiteY181" fmla="*/ 942787 h 4264910"/>
              <a:gd name="connsiteX182" fmla="*/ 754696 w 5889610"/>
              <a:gd name="connsiteY182" fmla="*/ 975846 h 4264910"/>
              <a:gd name="connsiteX183" fmla="*/ 724999 w 5889610"/>
              <a:gd name="connsiteY183" fmla="*/ 1009363 h 4264910"/>
              <a:gd name="connsiteX184" fmla="*/ 695807 w 5889610"/>
              <a:gd name="connsiteY184" fmla="*/ 1043332 h 4264910"/>
              <a:gd name="connsiteX185" fmla="*/ 667125 w 5889610"/>
              <a:gd name="connsiteY185" fmla="*/ 1077748 h 4264910"/>
              <a:gd name="connsiteX186" fmla="*/ 638960 w 5889610"/>
              <a:gd name="connsiteY186" fmla="*/ 1112604 h 4264910"/>
              <a:gd name="connsiteX187" fmla="*/ 611317 w 5889610"/>
              <a:gd name="connsiteY187" fmla="*/ 1147894 h 4264910"/>
              <a:gd name="connsiteX188" fmla="*/ 584202 w 5889610"/>
              <a:gd name="connsiteY188" fmla="*/ 1183613 h 4264910"/>
              <a:gd name="connsiteX189" fmla="*/ 557622 w 5889610"/>
              <a:gd name="connsiteY189" fmla="*/ 1219754 h 4264910"/>
              <a:gd name="connsiteX190" fmla="*/ 531582 w 5889610"/>
              <a:gd name="connsiteY190" fmla="*/ 1256313 h 4264910"/>
              <a:gd name="connsiteX191" fmla="*/ 506087 w 5889610"/>
              <a:gd name="connsiteY191" fmla="*/ 1293282 h 4264910"/>
              <a:gd name="connsiteX192" fmla="*/ 481145 w 5889610"/>
              <a:gd name="connsiteY192" fmla="*/ 1330656 h 4264910"/>
              <a:gd name="connsiteX193" fmla="*/ 456760 w 5889610"/>
              <a:gd name="connsiteY193" fmla="*/ 1368430 h 4264910"/>
              <a:gd name="connsiteX194" fmla="*/ 432939 w 5889610"/>
              <a:gd name="connsiteY194" fmla="*/ 1406597 h 4264910"/>
              <a:gd name="connsiteX195" fmla="*/ 409687 w 5889610"/>
              <a:gd name="connsiteY195" fmla="*/ 1445152 h 4264910"/>
              <a:gd name="connsiteX196" fmla="*/ 387011 w 5889610"/>
              <a:gd name="connsiteY196" fmla="*/ 1484088 h 4264910"/>
              <a:gd name="connsiteX197" fmla="*/ 364915 w 5889610"/>
              <a:gd name="connsiteY197" fmla="*/ 1523400 h 4264910"/>
              <a:gd name="connsiteX198" fmla="*/ 343407 w 5889610"/>
              <a:gd name="connsiteY198" fmla="*/ 1563082 h 4264910"/>
              <a:gd name="connsiteX199" fmla="*/ 322492 w 5889610"/>
              <a:gd name="connsiteY199" fmla="*/ 1603127 h 4264910"/>
              <a:gd name="connsiteX200" fmla="*/ 302176 w 5889610"/>
              <a:gd name="connsiteY200" fmla="*/ 1643531 h 4264910"/>
              <a:gd name="connsiteX201" fmla="*/ 282465 w 5889610"/>
              <a:gd name="connsiteY201" fmla="*/ 1684288 h 4264910"/>
              <a:gd name="connsiteX202" fmla="*/ 263365 w 5889610"/>
              <a:gd name="connsiteY202" fmla="*/ 1725390 h 4264910"/>
              <a:gd name="connsiteX203" fmla="*/ 244881 w 5889610"/>
              <a:gd name="connsiteY203" fmla="*/ 1766833 h 4264910"/>
              <a:gd name="connsiteX204" fmla="*/ 227019 w 5889610"/>
              <a:gd name="connsiteY204" fmla="*/ 1808611 h 4264910"/>
              <a:gd name="connsiteX205" fmla="*/ 209786 w 5889610"/>
              <a:gd name="connsiteY205" fmla="*/ 1850718 h 4264910"/>
              <a:gd name="connsiteX206" fmla="*/ 193187 w 5889610"/>
              <a:gd name="connsiteY206" fmla="*/ 1893147 h 4264910"/>
              <a:gd name="connsiteX207" fmla="*/ 177228 w 5889610"/>
              <a:gd name="connsiteY207" fmla="*/ 1935894 h 4264910"/>
              <a:gd name="connsiteX208" fmla="*/ 161915 w 5889610"/>
              <a:gd name="connsiteY208" fmla="*/ 1978952 h 4264910"/>
              <a:gd name="connsiteX209" fmla="*/ 147254 w 5889610"/>
              <a:gd name="connsiteY209" fmla="*/ 2022315 h 4264910"/>
              <a:gd name="connsiteX210" fmla="*/ 133251 w 5889610"/>
              <a:gd name="connsiteY210" fmla="*/ 2065977 h 4264910"/>
              <a:gd name="connsiteX211" fmla="*/ 119912 w 5889610"/>
              <a:gd name="connsiteY211" fmla="*/ 2109933 h 4264910"/>
              <a:gd name="connsiteX212" fmla="*/ 107242 w 5889610"/>
              <a:gd name="connsiteY212" fmla="*/ 2154177 h 4264910"/>
              <a:gd name="connsiteX213" fmla="*/ 95247 w 5889610"/>
              <a:gd name="connsiteY213" fmla="*/ 2198702 h 4264910"/>
              <a:gd name="connsiteX214" fmla="*/ 83934 w 5889610"/>
              <a:gd name="connsiteY214" fmla="*/ 2243504 h 4264910"/>
              <a:gd name="connsiteX215" fmla="*/ 73308 w 5889610"/>
              <a:gd name="connsiteY215" fmla="*/ 2288575 h 4264910"/>
              <a:gd name="connsiteX216" fmla="*/ 63375 w 5889610"/>
              <a:gd name="connsiteY216" fmla="*/ 2333911 h 4264910"/>
              <a:gd name="connsiteX217" fmla="*/ 54141 w 5889610"/>
              <a:gd name="connsiteY217" fmla="*/ 2379505 h 4264910"/>
              <a:gd name="connsiteX218" fmla="*/ 45613 w 5889610"/>
              <a:gd name="connsiteY218" fmla="*/ 2425352 h 4264910"/>
              <a:gd name="connsiteX219" fmla="*/ 37794 w 5889610"/>
              <a:gd name="connsiteY219" fmla="*/ 2471445 h 4264910"/>
              <a:gd name="connsiteX220" fmla="*/ 30693 w 5889610"/>
              <a:gd name="connsiteY220" fmla="*/ 2517779 h 4264910"/>
              <a:gd name="connsiteX221" fmla="*/ 24314 w 5889610"/>
              <a:gd name="connsiteY221" fmla="*/ 2564347 h 4264910"/>
              <a:gd name="connsiteX222" fmla="*/ 18663 w 5889610"/>
              <a:gd name="connsiteY222" fmla="*/ 2611145 h 4264910"/>
              <a:gd name="connsiteX223" fmla="*/ 13747 w 5889610"/>
              <a:gd name="connsiteY223" fmla="*/ 2658166 h 4264910"/>
              <a:gd name="connsiteX224" fmla="*/ 9571 w 5889610"/>
              <a:gd name="connsiteY224" fmla="*/ 2705404 h 4264910"/>
              <a:gd name="connsiteX225" fmla="*/ 6141 w 5889610"/>
              <a:gd name="connsiteY225" fmla="*/ 2752853 h 4264910"/>
              <a:gd name="connsiteX226" fmla="*/ 3463 w 5889610"/>
              <a:gd name="connsiteY226" fmla="*/ 2800508 h 4264910"/>
              <a:gd name="connsiteX227" fmla="*/ 1543 w 5889610"/>
              <a:gd name="connsiteY227" fmla="*/ 2848362 h 4264910"/>
              <a:gd name="connsiteX228" fmla="*/ 386 w 5889610"/>
              <a:gd name="connsiteY228" fmla="*/ 2896411 h 4264910"/>
              <a:gd name="connsiteX229" fmla="*/ 0 w 5889610"/>
              <a:gd name="connsiteY229"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607037 w 5889610"/>
              <a:gd name="connsiteY0" fmla="*/ 4205201 h 4264910"/>
              <a:gd name="connsiteX1" fmla="*/ 5626144 w 5889610"/>
              <a:gd name="connsiteY1" fmla="*/ 4164093 h 4264910"/>
              <a:gd name="connsiteX2" fmla="*/ 5644634 w 5889610"/>
              <a:gd name="connsiteY2" fmla="*/ 4122645 h 4264910"/>
              <a:gd name="connsiteX3" fmla="*/ 5662502 w 5889610"/>
              <a:gd name="connsiteY3" fmla="*/ 4080862 h 4264910"/>
              <a:gd name="connsiteX4" fmla="*/ 5679741 w 5889610"/>
              <a:gd name="connsiteY4" fmla="*/ 4038750 h 4264910"/>
              <a:gd name="connsiteX5" fmla="*/ 5696346 w 5889610"/>
              <a:gd name="connsiteY5" fmla="*/ 3996315 h 4264910"/>
              <a:gd name="connsiteX6" fmla="*/ 5712311 w 5889610"/>
              <a:gd name="connsiteY6" fmla="*/ 3953563 h 4264910"/>
              <a:gd name="connsiteX7" fmla="*/ 5727629 w 5889610"/>
              <a:gd name="connsiteY7" fmla="*/ 3910499 h 4264910"/>
              <a:gd name="connsiteX8" fmla="*/ 5742296 w 5889610"/>
              <a:gd name="connsiteY8" fmla="*/ 3867130 h 4264910"/>
              <a:gd name="connsiteX9" fmla="*/ 5756304 w 5889610"/>
              <a:gd name="connsiteY9" fmla="*/ 3823462 h 4264910"/>
              <a:gd name="connsiteX10" fmla="*/ 5769649 w 5889610"/>
              <a:gd name="connsiteY10" fmla="*/ 3779500 h 4264910"/>
              <a:gd name="connsiteX11" fmla="*/ 5782324 w 5889610"/>
              <a:gd name="connsiteY11" fmla="*/ 3735250 h 4264910"/>
              <a:gd name="connsiteX12" fmla="*/ 5794323 w 5889610"/>
              <a:gd name="connsiteY12" fmla="*/ 3690717 h 4264910"/>
              <a:gd name="connsiteX13" fmla="*/ 5826208 w 5889610"/>
              <a:gd name="connsiteY13" fmla="*/ 3555488 h 4264910"/>
              <a:gd name="connsiteX14" fmla="*/ 5835445 w 5889610"/>
              <a:gd name="connsiteY14" fmla="*/ 3509887 h 4264910"/>
              <a:gd name="connsiteX15" fmla="*/ 5843978 w 5889610"/>
              <a:gd name="connsiteY15" fmla="*/ 3464033 h 4264910"/>
              <a:gd name="connsiteX16" fmla="*/ 5851799 w 5889610"/>
              <a:gd name="connsiteY16" fmla="*/ 3417933 h 4264910"/>
              <a:gd name="connsiteX17" fmla="*/ 5858904 w 5889610"/>
              <a:gd name="connsiteY17" fmla="*/ 3371591 h 4264910"/>
              <a:gd name="connsiteX18" fmla="*/ 5865285 w 5889610"/>
              <a:gd name="connsiteY18" fmla="*/ 3325015 h 4264910"/>
              <a:gd name="connsiteX19" fmla="*/ 5870938 w 5889610"/>
              <a:gd name="connsiteY19" fmla="*/ 3278209 h 4264910"/>
              <a:gd name="connsiteX20" fmla="*/ 5875857 w 5889610"/>
              <a:gd name="connsiteY20" fmla="*/ 3231180 h 4264910"/>
              <a:gd name="connsiteX21" fmla="*/ 5880035 w 5889610"/>
              <a:gd name="connsiteY21" fmla="*/ 3183934 h 4264910"/>
              <a:gd name="connsiteX22" fmla="*/ 5883466 w 5889610"/>
              <a:gd name="connsiteY22" fmla="*/ 3136476 h 4264910"/>
              <a:gd name="connsiteX23" fmla="*/ 5886146 w 5889610"/>
              <a:gd name="connsiteY23" fmla="*/ 3088813 h 4264910"/>
              <a:gd name="connsiteX24" fmla="*/ 5888067 w 5889610"/>
              <a:gd name="connsiteY24" fmla="*/ 3040949 h 4264910"/>
              <a:gd name="connsiteX25" fmla="*/ 5889223 w 5889610"/>
              <a:gd name="connsiteY25" fmla="*/ 2992892 h 4264910"/>
              <a:gd name="connsiteX26" fmla="*/ 5889610 w 5889610"/>
              <a:gd name="connsiteY26" fmla="*/ 2944647 h 4264910"/>
              <a:gd name="connsiteX27" fmla="*/ 5889223 w 5889610"/>
              <a:gd name="connsiteY27" fmla="*/ 2896411 h 4264910"/>
              <a:gd name="connsiteX28" fmla="*/ 5888067 w 5889610"/>
              <a:gd name="connsiteY28" fmla="*/ 2848362 h 4264910"/>
              <a:gd name="connsiteX29" fmla="*/ 5886146 w 5889610"/>
              <a:gd name="connsiteY29" fmla="*/ 2800508 h 4264910"/>
              <a:gd name="connsiteX30" fmla="*/ 5883466 w 5889610"/>
              <a:gd name="connsiteY30" fmla="*/ 2752853 h 4264910"/>
              <a:gd name="connsiteX31" fmla="*/ 5880035 w 5889610"/>
              <a:gd name="connsiteY31" fmla="*/ 2705404 h 4264910"/>
              <a:gd name="connsiteX32" fmla="*/ 5875857 w 5889610"/>
              <a:gd name="connsiteY32" fmla="*/ 2658166 h 4264910"/>
              <a:gd name="connsiteX33" fmla="*/ 5870938 w 5889610"/>
              <a:gd name="connsiteY33" fmla="*/ 2611145 h 4264910"/>
              <a:gd name="connsiteX34" fmla="*/ 5865285 w 5889610"/>
              <a:gd name="connsiteY34" fmla="*/ 2564347 h 4264910"/>
              <a:gd name="connsiteX35" fmla="*/ 5858904 w 5889610"/>
              <a:gd name="connsiteY35" fmla="*/ 2517779 h 4264910"/>
              <a:gd name="connsiteX36" fmla="*/ 5851799 w 5889610"/>
              <a:gd name="connsiteY36" fmla="*/ 2471445 h 4264910"/>
              <a:gd name="connsiteX37" fmla="*/ 5843978 w 5889610"/>
              <a:gd name="connsiteY37" fmla="*/ 2425352 h 4264910"/>
              <a:gd name="connsiteX38" fmla="*/ 5835445 w 5889610"/>
              <a:gd name="connsiteY38" fmla="*/ 2379505 h 4264910"/>
              <a:gd name="connsiteX39" fmla="*/ 5826208 w 5889610"/>
              <a:gd name="connsiteY39" fmla="*/ 2333911 h 4264910"/>
              <a:gd name="connsiteX40" fmla="*/ 5816271 w 5889610"/>
              <a:gd name="connsiteY40" fmla="*/ 2288575 h 4264910"/>
              <a:gd name="connsiteX41" fmla="*/ 5805641 w 5889610"/>
              <a:gd name="connsiteY41" fmla="*/ 2243504 h 4264910"/>
              <a:gd name="connsiteX42" fmla="*/ 5794323 w 5889610"/>
              <a:gd name="connsiteY42" fmla="*/ 2198702 h 4264910"/>
              <a:gd name="connsiteX43" fmla="*/ 5782324 w 5889610"/>
              <a:gd name="connsiteY43" fmla="*/ 2154177 h 4264910"/>
              <a:gd name="connsiteX44" fmla="*/ 5769649 w 5889610"/>
              <a:gd name="connsiteY44" fmla="*/ 2109933 h 4264910"/>
              <a:gd name="connsiteX45" fmla="*/ 5756304 w 5889610"/>
              <a:gd name="connsiteY45" fmla="*/ 2065977 h 4264910"/>
              <a:gd name="connsiteX46" fmla="*/ 5742296 w 5889610"/>
              <a:gd name="connsiteY46" fmla="*/ 2022315 h 4264910"/>
              <a:gd name="connsiteX47" fmla="*/ 5727629 w 5889610"/>
              <a:gd name="connsiteY47" fmla="*/ 1978952 h 4264910"/>
              <a:gd name="connsiteX48" fmla="*/ 5712311 w 5889610"/>
              <a:gd name="connsiteY48" fmla="*/ 1935894 h 4264910"/>
              <a:gd name="connsiteX49" fmla="*/ 5696346 w 5889610"/>
              <a:gd name="connsiteY49" fmla="*/ 1893147 h 4264910"/>
              <a:gd name="connsiteX50" fmla="*/ 5679741 w 5889610"/>
              <a:gd name="connsiteY50" fmla="*/ 1850718 h 4264910"/>
              <a:gd name="connsiteX51" fmla="*/ 5662502 w 5889610"/>
              <a:gd name="connsiteY51" fmla="*/ 1808611 h 4264910"/>
              <a:gd name="connsiteX52" fmla="*/ 5644634 w 5889610"/>
              <a:gd name="connsiteY52" fmla="*/ 1766833 h 4264910"/>
              <a:gd name="connsiteX53" fmla="*/ 5626144 w 5889610"/>
              <a:gd name="connsiteY53" fmla="*/ 1725390 h 4264910"/>
              <a:gd name="connsiteX54" fmla="*/ 5607037 w 5889610"/>
              <a:gd name="connsiteY54" fmla="*/ 1684288 h 4264910"/>
              <a:gd name="connsiteX55" fmla="*/ 5587319 w 5889610"/>
              <a:gd name="connsiteY55" fmla="*/ 1643531 h 4264910"/>
              <a:gd name="connsiteX56" fmla="*/ 5566997 w 5889610"/>
              <a:gd name="connsiteY56" fmla="*/ 1603127 h 4264910"/>
              <a:gd name="connsiteX57" fmla="*/ 5546075 w 5889610"/>
              <a:gd name="connsiteY57" fmla="*/ 1563082 h 4264910"/>
              <a:gd name="connsiteX58" fmla="*/ 5524560 w 5889610"/>
              <a:gd name="connsiteY58" fmla="*/ 1523400 h 4264910"/>
              <a:gd name="connsiteX59" fmla="*/ 5502458 w 5889610"/>
              <a:gd name="connsiteY59" fmla="*/ 1484088 h 4264910"/>
              <a:gd name="connsiteX60" fmla="*/ 5479775 w 5889610"/>
              <a:gd name="connsiteY60" fmla="*/ 1445152 h 4264910"/>
              <a:gd name="connsiteX61" fmla="*/ 5456516 w 5889610"/>
              <a:gd name="connsiteY61" fmla="*/ 1406597 h 4264910"/>
              <a:gd name="connsiteX62" fmla="*/ 5432688 w 5889610"/>
              <a:gd name="connsiteY62" fmla="*/ 1368430 h 4264910"/>
              <a:gd name="connsiteX63" fmla="*/ 5408296 w 5889610"/>
              <a:gd name="connsiteY63" fmla="*/ 1330656 h 4264910"/>
              <a:gd name="connsiteX64" fmla="*/ 5383346 w 5889610"/>
              <a:gd name="connsiteY64" fmla="*/ 1293282 h 4264910"/>
              <a:gd name="connsiteX65" fmla="*/ 5357845 w 5889610"/>
              <a:gd name="connsiteY65" fmla="*/ 1256313 h 4264910"/>
              <a:gd name="connsiteX66" fmla="*/ 5331797 w 5889610"/>
              <a:gd name="connsiteY66" fmla="*/ 1219754 h 4264910"/>
              <a:gd name="connsiteX67" fmla="*/ 5305210 w 5889610"/>
              <a:gd name="connsiteY67" fmla="*/ 1183613 h 4264910"/>
              <a:gd name="connsiteX68" fmla="*/ 5278088 w 5889610"/>
              <a:gd name="connsiteY68" fmla="*/ 1147894 h 4264910"/>
              <a:gd name="connsiteX69" fmla="*/ 5250438 w 5889610"/>
              <a:gd name="connsiteY69" fmla="*/ 1112604 h 4264910"/>
              <a:gd name="connsiteX70" fmla="*/ 5222266 w 5889610"/>
              <a:gd name="connsiteY70" fmla="*/ 1077748 h 4264910"/>
              <a:gd name="connsiteX71" fmla="*/ 5193577 w 5889610"/>
              <a:gd name="connsiteY71" fmla="*/ 1043332 h 4264910"/>
              <a:gd name="connsiteX72" fmla="*/ 5164378 w 5889610"/>
              <a:gd name="connsiteY72" fmla="*/ 1009363 h 4264910"/>
              <a:gd name="connsiteX73" fmla="*/ 5134674 w 5889610"/>
              <a:gd name="connsiteY73" fmla="*/ 975846 h 4264910"/>
              <a:gd name="connsiteX74" fmla="*/ 5104471 w 5889610"/>
              <a:gd name="connsiteY74" fmla="*/ 942787 h 4264910"/>
              <a:gd name="connsiteX75" fmla="*/ 5073776 w 5889610"/>
              <a:gd name="connsiteY75" fmla="*/ 910192 h 4264910"/>
              <a:gd name="connsiteX76" fmla="*/ 5042593 w 5889610"/>
              <a:gd name="connsiteY76" fmla="*/ 878066 h 4264910"/>
              <a:gd name="connsiteX77" fmla="*/ 5010930 w 5889610"/>
              <a:gd name="connsiteY77" fmla="*/ 846416 h 4264910"/>
              <a:gd name="connsiteX78" fmla="*/ 4978791 w 5889610"/>
              <a:gd name="connsiteY78" fmla="*/ 815247 h 4264910"/>
              <a:gd name="connsiteX79" fmla="*/ 4946183 w 5889610"/>
              <a:gd name="connsiteY79" fmla="*/ 784566 h 4264910"/>
              <a:gd name="connsiteX80" fmla="*/ 4913111 w 5889610"/>
              <a:gd name="connsiteY80" fmla="*/ 754377 h 4264910"/>
              <a:gd name="connsiteX81" fmla="*/ 4879582 w 5889610"/>
              <a:gd name="connsiteY81" fmla="*/ 724688 h 4264910"/>
              <a:gd name="connsiteX82" fmla="*/ 4845602 w 5889610"/>
              <a:gd name="connsiteY82" fmla="*/ 695504 h 4264910"/>
              <a:gd name="connsiteX83" fmla="*/ 4811176 w 5889610"/>
              <a:gd name="connsiteY83" fmla="*/ 666831 h 4264910"/>
              <a:gd name="connsiteX84" fmla="*/ 4776309 w 5889610"/>
              <a:gd name="connsiteY84" fmla="*/ 638674 h 4264910"/>
              <a:gd name="connsiteX85" fmla="*/ 4741009 w 5889610"/>
              <a:gd name="connsiteY85" fmla="*/ 611040 h 4264910"/>
              <a:gd name="connsiteX86" fmla="*/ 4705281 w 5889610"/>
              <a:gd name="connsiteY86" fmla="*/ 583934 h 4264910"/>
              <a:gd name="connsiteX87" fmla="*/ 4669131 w 5889610"/>
              <a:gd name="connsiteY87" fmla="*/ 557362 h 4264910"/>
              <a:gd name="connsiteX88" fmla="*/ 4632565 w 5889610"/>
              <a:gd name="connsiteY88" fmla="*/ 531331 h 4264910"/>
              <a:gd name="connsiteX89" fmla="*/ 4595588 w 5889610"/>
              <a:gd name="connsiteY89" fmla="*/ 505845 h 4264910"/>
              <a:gd name="connsiteX90" fmla="*/ 4558207 w 5889610"/>
              <a:gd name="connsiteY90" fmla="*/ 480912 h 4264910"/>
              <a:gd name="connsiteX91" fmla="*/ 4520427 w 5889610"/>
              <a:gd name="connsiteY91" fmla="*/ 456536 h 4264910"/>
              <a:gd name="connsiteX92" fmla="*/ 4482255 w 5889610"/>
              <a:gd name="connsiteY92" fmla="*/ 432724 h 4264910"/>
              <a:gd name="connsiteX93" fmla="*/ 4443696 w 5889610"/>
              <a:gd name="connsiteY93" fmla="*/ 409481 h 4264910"/>
              <a:gd name="connsiteX94" fmla="*/ 4404756 w 5889610"/>
              <a:gd name="connsiteY94" fmla="*/ 386814 h 4264910"/>
              <a:gd name="connsiteX95" fmla="*/ 4365441 w 5889610"/>
              <a:gd name="connsiteY95" fmla="*/ 364727 h 4264910"/>
              <a:gd name="connsiteX96" fmla="*/ 4325757 w 5889610"/>
              <a:gd name="connsiteY96" fmla="*/ 343228 h 4264910"/>
              <a:gd name="connsiteX97" fmla="*/ 4285710 w 5889610"/>
              <a:gd name="connsiteY97" fmla="*/ 322322 h 4264910"/>
              <a:gd name="connsiteX98" fmla="*/ 4245306 w 5889610"/>
              <a:gd name="connsiteY98" fmla="*/ 302015 h 4264910"/>
              <a:gd name="connsiteX99" fmla="*/ 4204550 w 5889610"/>
              <a:gd name="connsiteY99" fmla="*/ 282313 h 4264910"/>
              <a:gd name="connsiteX100" fmla="*/ 4163449 w 5889610"/>
              <a:gd name="connsiteY100" fmla="*/ 263221 h 4264910"/>
              <a:gd name="connsiteX101" fmla="*/ 4122008 w 5889610"/>
              <a:gd name="connsiteY101" fmla="*/ 244746 h 4264910"/>
              <a:gd name="connsiteX102" fmla="*/ 4080233 w 5889610"/>
              <a:gd name="connsiteY102" fmla="*/ 226893 h 4264910"/>
              <a:gd name="connsiteX103" fmla="*/ 4038131 w 5889610"/>
              <a:gd name="connsiteY103" fmla="*/ 209668 h 4264910"/>
              <a:gd name="connsiteX104" fmla="*/ 3995707 w 5889610"/>
              <a:gd name="connsiteY104" fmla="*/ 193077 h 4264910"/>
              <a:gd name="connsiteX105" fmla="*/ 3952967 w 5889610"/>
              <a:gd name="connsiteY105" fmla="*/ 177126 h 4264910"/>
              <a:gd name="connsiteX106" fmla="*/ 3909916 w 5889610"/>
              <a:gd name="connsiteY106" fmla="*/ 161821 h 4264910"/>
              <a:gd name="connsiteX107" fmla="*/ 3866562 w 5889610"/>
              <a:gd name="connsiteY107" fmla="*/ 147168 h 4264910"/>
              <a:gd name="connsiteX108" fmla="*/ 3822909 w 5889610"/>
              <a:gd name="connsiteY108" fmla="*/ 133172 h 4264910"/>
              <a:gd name="connsiteX109" fmla="*/ 3778964 w 5889610"/>
              <a:gd name="connsiteY109" fmla="*/ 119840 h 4264910"/>
              <a:gd name="connsiteX110" fmla="*/ 3734732 w 5889610"/>
              <a:gd name="connsiteY110" fmla="*/ 107177 h 4264910"/>
              <a:gd name="connsiteX111" fmla="*/ 3690220 w 5889610"/>
              <a:gd name="connsiteY111" fmla="*/ 95189 h 4264910"/>
              <a:gd name="connsiteX112" fmla="*/ 3645433 w 5889610"/>
              <a:gd name="connsiteY112" fmla="*/ 83883 h 4264910"/>
              <a:gd name="connsiteX113" fmla="*/ 3600377 w 5889610"/>
              <a:gd name="connsiteY113" fmla="*/ 73263 h 4264910"/>
              <a:gd name="connsiteX114" fmla="*/ 3555058 w 5889610"/>
              <a:gd name="connsiteY114" fmla="*/ 63336 h 4264910"/>
              <a:gd name="connsiteX115" fmla="*/ 3509482 w 5889610"/>
              <a:gd name="connsiteY115" fmla="*/ 54107 h 4264910"/>
              <a:gd name="connsiteX116" fmla="*/ 3463655 w 5889610"/>
              <a:gd name="connsiteY116" fmla="*/ 45584 h 4264910"/>
              <a:gd name="connsiteX117" fmla="*/ 3417583 w 5889610"/>
              <a:gd name="connsiteY117" fmla="*/ 37770 h 4264910"/>
              <a:gd name="connsiteX118" fmla="*/ 3371271 w 5889610"/>
              <a:gd name="connsiteY118" fmla="*/ 30673 h 4264910"/>
              <a:gd name="connsiteX119" fmla="*/ 3324726 w 5889610"/>
              <a:gd name="connsiteY119" fmla="*/ 24298 h 4264910"/>
              <a:gd name="connsiteX120" fmla="*/ 3277953 w 5889610"/>
              <a:gd name="connsiteY120" fmla="*/ 18651 h 4264910"/>
              <a:gd name="connsiteX121" fmla="*/ 3230959 w 5889610"/>
              <a:gd name="connsiteY121" fmla="*/ 13738 h 4264910"/>
              <a:gd name="connsiteX122" fmla="*/ 3183749 w 5889610"/>
              <a:gd name="connsiteY122" fmla="*/ 9564 h 4264910"/>
              <a:gd name="connsiteX123" fmla="*/ 3136329 w 5889610"/>
              <a:gd name="connsiteY123" fmla="*/ 6137 h 4264910"/>
              <a:gd name="connsiteX124" fmla="*/ 3088705 w 5889610"/>
              <a:gd name="connsiteY124" fmla="*/ 3461 h 4264910"/>
              <a:gd name="connsiteX125" fmla="*/ 3040883 w 5889610"/>
              <a:gd name="connsiteY125" fmla="*/ 1542 h 4264910"/>
              <a:gd name="connsiteX126" fmla="*/ 2992869 w 5889610"/>
              <a:gd name="connsiteY126" fmla="*/ 386 h 4264910"/>
              <a:gd name="connsiteX127" fmla="*/ 2944668 w 5889610"/>
              <a:gd name="connsiteY127" fmla="*/ 0 h 4264910"/>
              <a:gd name="connsiteX128" fmla="*/ 2896458 w 5889610"/>
              <a:gd name="connsiteY128" fmla="*/ 386 h 4264910"/>
              <a:gd name="connsiteX129" fmla="*/ 2848435 w 5889610"/>
              <a:gd name="connsiteY129" fmla="*/ 1542 h 4264910"/>
              <a:gd name="connsiteX130" fmla="*/ 2800604 w 5889610"/>
              <a:gd name="connsiteY130" fmla="*/ 3461 h 4264910"/>
              <a:gd name="connsiteX131" fmla="*/ 2752972 w 5889610"/>
              <a:gd name="connsiteY131" fmla="*/ 6137 h 4264910"/>
              <a:gd name="connsiteX132" fmla="*/ 2705544 w 5889610"/>
              <a:gd name="connsiteY132" fmla="*/ 9564 h 4264910"/>
              <a:gd name="connsiteX133" fmla="*/ 2658327 w 5889610"/>
              <a:gd name="connsiteY133" fmla="*/ 13738 h 4264910"/>
              <a:gd name="connsiteX134" fmla="*/ 2611326 w 5889610"/>
              <a:gd name="connsiteY134" fmla="*/ 18651 h 4264910"/>
              <a:gd name="connsiteX135" fmla="*/ 2564548 w 5889610"/>
              <a:gd name="connsiteY135" fmla="*/ 24298 h 4264910"/>
              <a:gd name="connsiteX136" fmla="*/ 2517997 w 5889610"/>
              <a:gd name="connsiteY136" fmla="*/ 30673 h 4264910"/>
              <a:gd name="connsiteX137" fmla="*/ 2471680 w 5889610"/>
              <a:gd name="connsiteY137" fmla="*/ 37770 h 4264910"/>
              <a:gd name="connsiteX138" fmla="*/ 2425603 w 5889610"/>
              <a:gd name="connsiteY138" fmla="*/ 45584 h 4264910"/>
              <a:gd name="connsiteX139" fmla="*/ 2379772 w 5889610"/>
              <a:gd name="connsiteY139" fmla="*/ 54107 h 4264910"/>
              <a:gd name="connsiteX140" fmla="*/ 2334192 w 5889610"/>
              <a:gd name="connsiteY140" fmla="*/ 63336 h 4264910"/>
              <a:gd name="connsiteX141" fmla="*/ 2288870 w 5889610"/>
              <a:gd name="connsiteY141" fmla="*/ 73263 h 4264910"/>
              <a:gd name="connsiteX142" fmla="*/ 2243811 w 5889610"/>
              <a:gd name="connsiteY142" fmla="*/ 83883 h 4264910"/>
              <a:gd name="connsiteX143" fmla="*/ 2199022 w 5889610"/>
              <a:gd name="connsiteY143" fmla="*/ 95189 h 4264910"/>
              <a:gd name="connsiteX144" fmla="*/ 2154507 w 5889610"/>
              <a:gd name="connsiteY144" fmla="*/ 107177 h 4264910"/>
              <a:gd name="connsiteX145" fmla="*/ 2110274 w 5889610"/>
              <a:gd name="connsiteY145" fmla="*/ 119840 h 4264910"/>
              <a:gd name="connsiteX146" fmla="*/ 2066327 w 5889610"/>
              <a:gd name="connsiteY146" fmla="*/ 133172 h 4264910"/>
              <a:gd name="connsiteX147" fmla="*/ 2022674 w 5889610"/>
              <a:gd name="connsiteY147" fmla="*/ 147168 h 4264910"/>
              <a:gd name="connsiteX148" fmla="*/ 1979319 w 5889610"/>
              <a:gd name="connsiteY148" fmla="*/ 161821 h 4264910"/>
              <a:gd name="connsiteX149" fmla="*/ 1936268 w 5889610"/>
              <a:gd name="connsiteY149" fmla="*/ 177126 h 4264910"/>
              <a:gd name="connsiteX150" fmla="*/ 1893528 w 5889610"/>
              <a:gd name="connsiteY150" fmla="*/ 193077 h 4264910"/>
              <a:gd name="connsiteX151" fmla="*/ 1851105 w 5889610"/>
              <a:gd name="connsiteY151" fmla="*/ 209668 h 4264910"/>
              <a:gd name="connsiteX152" fmla="*/ 1809003 w 5889610"/>
              <a:gd name="connsiteY152" fmla="*/ 226893 h 4264910"/>
              <a:gd name="connsiteX153" fmla="*/ 1767230 w 5889610"/>
              <a:gd name="connsiteY153" fmla="*/ 244746 h 4264910"/>
              <a:gd name="connsiteX154" fmla="*/ 1725791 w 5889610"/>
              <a:gd name="connsiteY154" fmla="*/ 263221 h 4264910"/>
              <a:gd name="connsiteX155" fmla="*/ 1684691 w 5889610"/>
              <a:gd name="connsiteY155" fmla="*/ 282313 h 4264910"/>
              <a:gd name="connsiteX156" fmla="*/ 1643938 w 5889610"/>
              <a:gd name="connsiteY156" fmla="*/ 302015 h 4264910"/>
              <a:gd name="connsiteX157" fmla="*/ 1603536 w 5889610"/>
              <a:gd name="connsiteY157" fmla="*/ 322322 h 4264910"/>
              <a:gd name="connsiteX158" fmla="*/ 1563492 w 5889610"/>
              <a:gd name="connsiteY158" fmla="*/ 343228 h 4264910"/>
              <a:gd name="connsiteX159" fmla="*/ 1523811 w 5889610"/>
              <a:gd name="connsiteY159" fmla="*/ 364727 h 4264910"/>
              <a:gd name="connsiteX160" fmla="*/ 1484499 w 5889610"/>
              <a:gd name="connsiteY160" fmla="*/ 386814 h 4264910"/>
              <a:gd name="connsiteX161" fmla="*/ 1445563 w 5889610"/>
              <a:gd name="connsiteY161" fmla="*/ 409481 h 4264910"/>
              <a:gd name="connsiteX162" fmla="*/ 1407007 w 5889610"/>
              <a:gd name="connsiteY162" fmla="*/ 432724 h 4264910"/>
              <a:gd name="connsiteX163" fmla="*/ 1368839 w 5889610"/>
              <a:gd name="connsiteY163" fmla="*/ 456536 h 4264910"/>
              <a:gd name="connsiteX164" fmla="*/ 1331064 w 5889610"/>
              <a:gd name="connsiteY164" fmla="*/ 480912 h 4264910"/>
              <a:gd name="connsiteX165" fmla="*/ 1293687 w 5889610"/>
              <a:gd name="connsiteY165" fmla="*/ 505845 h 4264910"/>
              <a:gd name="connsiteX166" fmla="*/ 1256715 w 5889610"/>
              <a:gd name="connsiteY166" fmla="*/ 531331 h 4264910"/>
              <a:gd name="connsiteX167" fmla="*/ 1220154 w 5889610"/>
              <a:gd name="connsiteY167" fmla="*/ 557362 h 4264910"/>
              <a:gd name="connsiteX168" fmla="*/ 1184009 w 5889610"/>
              <a:gd name="connsiteY168" fmla="*/ 583934 h 4264910"/>
              <a:gd name="connsiteX169" fmla="*/ 1148286 w 5889610"/>
              <a:gd name="connsiteY169" fmla="*/ 611040 h 4264910"/>
              <a:gd name="connsiteX170" fmla="*/ 1112991 w 5889610"/>
              <a:gd name="connsiteY170" fmla="*/ 638674 h 4264910"/>
              <a:gd name="connsiteX171" fmla="*/ 1078131 w 5889610"/>
              <a:gd name="connsiteY171" fmla="*/ 666831 h 4264910"/>
              <a:gd name="connsiteX172" fmla="*/ 1043710 w 5889610"/>
              <a:gd name="connsiteY172" fmla="*/ 695504 h 4264910"/>
              <a:gd name="connsiteX173" fmla="*/ 1009736 w 5889610"/>
              <a:gd name="connsiteY173" fmla="*/ 724688 h 4264910"/>
              <a:gd name="connsiteX174" fmla="*/ 976213 w 5889610"/>
              <a:gd name="connsiteY174" fmla="*/ 754377 h 4264910"/>
              <a:gd name="connsiteX175" fmla="*/ 943148 w 5889610"/>
              <a:gd name="connsiteY175" fmla="*/ 784566 h 4264910"/>
              <a:gd name="connsiteX176" fmla="*/ 910546 w 5889610"/>
              <a:gd name="connsiteY176" fmla="*/ 815247 h 4264910"/>
              <a:gd name="connsiteX177" fmla="*/ 878413 w 5889610"/>
              <a:gd name="connsiteY177" fmla="*/ 846416 h 4264910"/>
              <a:gd name="connsiteX178" fmla="*/ 846756 w 5889610"/>
              <a:gd name="connsiteY178" fmla="*/ 878066 h 4264910"/>
              <a:gd name="connsiteX179" fmla="*/ 815581 w 5889610"/>
              <a:gd name="connsiteY179" fmla="*/ 910192 h 4264910"/>
              <a:gd name="connsiteX180" fmla="*/ 784892 w 5889610"/>
              <a:gd name="connsiteY180" fmla="*/ 942787 h 4264910"/>
              <a:gd name="connsiteX181" fmla="*/ 754696 w 5889610"/>
              <a:gd name="connsiteY181" fmla="*/ 975846 h 4264910"/>
              <a:gd name="connsiteX182" fmla="*/ 724999 w 5889610"/>
              <a:gd name="connsiteY182" fmla="*/ 1009363 h 4264910"/>
              <a:gd name="connsiteX183" fmla="*/ 695807 w 5889610"/>
              <a:gd name="connsiteY183" fmla="*/ 1043332 h 4264910"/>
              <a:gd name="connsiteX184" fmla="*/ 667125 w 5889610"/>
              <a:gd name="connsiteY184" fmla="*/ 1077748 h 4264910"/>
              <a:gd name="connsiteX185" fmla="*/ 638960 w 5889610"/>
              <a:gd name="connsiteY185" fmla="*/ 1112604 h 4264910"/>
              <a:gd name="connsiteX186" fmla="*/ 611317 w 5889610"/>
              <a:gd name="connsiteY186" fmla="*/ 1147894 h 4264910"/>
              <a:gd name="connsiteX187" fmla="*/ 584202 w 5889610"/>
              <a:gd name="connsiteY187" fmla="*/ 1183613 h 4264910"/>
              <a:gd name="connsiteX188" fmla="*/ 557622 w 5889610"/>
              <a:gd name="connsiteY188" fmla="*/ 1219754 h 4264910"/>
              <a:gd name="connsiteX189" fmla="*/ 531582 w 5889610"/>
              <a:gd name="connsiteY189" fmla="*/ 1256313 h 4264910"/>
              <a:gd name="connsiteX190" fmla="*/ 506087 w 5889610"/>
              <a:gd name="connsiteY190" fmla="*/ 1293282 h 4264910"/>
              <a:gd name="connsiteX191" fmla="*/ 481145 w 5889610"/>
              <a:gd name="connsiteY191" fmla="*/ 1330656 h 4264910"/>
              <a:gd name="connsiteX192" fmla="*/ 456760 w 5889610"/>
              <a:gd name="connsiteY192" fmla="*/ 1368430 h 4264910"/>
              <a:gd name="connsiteX193" fmla="*/ 432939 w 5889610"/>
              <a:gd name="connsiteY193" fmla="*/ 1406597 h 4264910"/>
              <a:gd name="connsiteX194" fmla="*/ 409687 w 5889610"/>
              <a:gd name="connsiteY194" fmla="*/ 1445152 h 4264910"/>
              <a:gd name="connsiteX195" fmla="*/ 387011 w 5889610"/>
              <a:gd name="connsiteY195" fmla="*/ 1484088 h 4264910"/>
              <a:gd name="connsiteX196" fmla="*/ 364915 w 5889610"/>
              <a:gd name="connsiteY196" fmla="*/ 1523400 h 4264910"/>
              <a:gd name="connsiteX197" fmla="*/ 343407 w 5889610"/>
              <a:gd name="connsiteY197" fmla="*/ 1563082 h 4264910"/>
              <a:gd name="connsiteX198" fmla="*/ 322492 w 5889610"/>
              <a:gd name="connsiteY198" fmla="*/ 1603127 h 4264910"/>
              <a:gd name="connsiteX199" fmla="*/ 302176 w 5889610"/>
              <a:gd name="connsiteY199" fmla="*/ 1643531 h 4264910"/>
              <a:gd name="connsiteX200" fmla="*/ 282465 w 5889610"/>
              <a:gd name="connsiteY200" fmla="*/ 1684288 h 4264910"/>
              <a:gd name="connsiteX201" fmla="*/ 263365 w 5889610"/>
              <a:gd name="connsiteY201" fmla="*/ 1725390 h 4264910"/>
              <a:gd name="connsiteX202" fmla="*/ 244881 w 5889610"/>
              <a:gd name="connsiteY202" fmla="*/ 1766833 h 4264910"/>
              <a:gd name="connsiteX203" fmla="*/ 227019 w 5889610"/>
              <a:gd name="connsiteY203" fmla="*/ 1808611 h 4264910"/>
              <a:gd name="connsiteX204" fmla="*/ 209786 w 5889610"/>
              <a:gd name="connsiteY204" fmla="*/ 1850718 h 4264910"/>
              <a:gd name="connsiteX205" fmla="*/ 193187 w 5889610"/>
              <a:gd name="connsiteY205" fmla="*/ 1893147 h 4264910"/>
              <a:gd name="connsiteX206" fmla="*/ 177228 w 5889610"/>
              <a:gd name="connsiteY206" fmla="*/ 1935894 h 4264910"/>
              <a:gd name="connsiteX207" fmla="*/ 161915 w 5889610"/>
              <a:gd name="connsiteY207" fmla="*/ 1978952 h 4264910"/>
              <a:gd name="connsiteX208" fmla="*/ 147254 w 5889610"/>
              <a:gd name="connsiteY208" fmla="*/ 2022315 h 4264910"/>
              <a:gd name="connsiteX209" fmla="*/ 133251 w 5889610"/>
              <a:gd name="connsiteY209" fmla="*/ 2065977 h 4264910"/>
              <a:gd name="connsiteX210" fmla="*/ 119912 w 5889610"/>
              <a:gd name="connsiteY210" fmla="*/ 2109933 h 4264910"/>
              <a:gd name="connsiteX211" fmla="*/ 107242 w 5889610"/>
              <a:gd name="connsiteY211" fmla="*/ 2154177 h 4264910"/>
              <a:gd name="connsiteX212" fmla="*/ 95247 w 5889610"/>
              <a:gd name="connsiteY212" fmla="*/ 2198702 h 4264910"/>
              <a:gd name="connsiteX213" fmla="*/ 83934 w 5889610"/>
              <a:gd name="connsiteY213" fmla="*/ 2243504 h 4264910"/>
              <a:gd name="connsiteX214" fmla="*/ 73308 w 5889610"/>
              <a:gd name="connsiteY214" fmla="*/ 2288575 h 4264910"/>
              <a:gd name="connsiteX215" fmla="*/ 63375 w 5889610"/>
              <a:gd name="connsiteY215" fmla="*/ 2333911 h 4264910"/>
              <a:gd name="connsiteX216" fmla="*/ 54141 w 5889610"/>
              <a:gd name="connsiteY216" fmla="*/ 2379505 h 4264910"/>
              <a:gd name="connsiteX217" fmla="*/ 45613 w 5889610"/>
              <a:gd name="connsiteY217" fmla="*/ 2425352 h 4264910"/>
              <a:gd name="connsiteX218" fmla="*/ 37794 w 5889610"/>
              <a:gd name="connsiteY218" fmla="*/ 2471445 h 4264910"/>
              <a:gd name="connsiteX219" fmla="*/ 30693 w 5889610"/>
              <a:gd name="connsiteY219" fmla="*/ 2517779 h 4264910"/>
              <a:gd name="connsiteX220" fmla="*/ 24314 w 5889610"/>
              <a:gd name="connsiteY220" fmla="*/ 2564347 h 4264910"/>
              <a:gd name="connsiteX221" fmla="*/ 18663 w 5889610"/>
              <a:gd name="connsiteY221" fmla="*/ 2611145 h 4264910"/>
              <a:gd name="connsiteX222" fmla="*/ 13747 w 5889610"/>
              <a:gd name="connsiteY222" fmla="*/ 2658166 h 4264910"/>
              <a:gd name="connsiteX223" fmla="*/ 9571 w 5889610"/>
              <a:gd name="connsiteY223" fmla="*/ 2705404 h 4264910"/>
              <a:gd name="connsiteX224" fmla="*/ 6141 w 5889610"/>
              <a:gd name="connsiteY224" fmla="*/ 2752853 h 4264910"/>
              <a:gd name="connsiteX225" fmla="*/ 3463 w 5889610"/>
              <a:gd name="connsiteY225" fmla="*/ 2800508 h 4264910"/>
              <a:gd name="connsiteX226" fmla="*/ 1543 w 5889610"/>
              <a:gd name="connsiteY226" fmla="*/ 2848362 h 4264910"/>
              <a:gd name="connsiteX227" fmla="*/ 386 w 5889610"/>
              <a:gd name="connsiteY227" fmla="*/ 2896411 h 4264910"/>
              <a:gd name="connsiteX228" fmla="*/ 0 w 5889610"/>
              <a:gd name="connsiteY228"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607037 w 5889610"/>
              <a:gd name="connsiteY0" fmla="*/ 4205201 h 4264910"/>
              <a:gd name="connsiteX1" fmla="*/ 5644634 w 5889610"/>
              <a:gd name="connsiteY1" fmla="*/ 4122645 h 4264910"/>
              <a:gd name="connsiteX2" fmla="*/ 5662502 w 5889610"/>
              <a:gd name="connsiteY2" fmla="*/ 4080862 h 4264910"/>
              <a:gd name="connsiteX3" fmla="*/ 5679741 w 5889610"/>
              <a:gd name="connsiteY3" fmla="*/ 4038750 h 4264910"/>
              <a:gd name="connsiteX4" fmla="*/ 5696346 w 5889610"/>
              <a:gd name="connsiteY4" fmla="*/ 3996315 h 4264910"/>
              <a:gd name="connsiteX5" fmla="*/ 5712311 w 5889610"/>
              <a:gd name="connsiteY5" fmla="*/ 3953563 h 4264910"/>
              <a:gd name="connsiteX6" fmla="*/ 5727629 w 5889610"/>
              <a:gd name="connsiteY6" fmla="*/ 3910499 h 4264910"/>
              <a:gd name="connsiteX7" fmla="*/ 5742296 w 5889610"/>
              <a:gd name="connsiteY7" fmla="*/ 3867130 h 4264910"/>
              <a:gd name="connsiteX8" fmla="*/ 5756304 w 5889610"/>
              <a:gd name="connsiteY8" fmla="*/ 3823462 h 4264910"/>
              <a:gd name="connsiteX9" fmla="*/ 5769649 w 5889610"/>
              <a:gd name="connsiteY9" fmla="*/ 3779500 h 4264910"/>
              <a:gd name="connsiteX10" fmla="*/ 5782324 w 5889610"/>
              <a:gd name="connsiteY10" fmla="*/ 3735250 h 4264910"/>
              <a:gd name="connsiteX11" fmla="*/ 5794323 w 5889610"/>
              <a:gd name="connsiteY11" fmla="*/ 3690717 h 4264910"/>
              <a:gd name="connsiteX12" fmla="*/ 5826208 w 5889610"/>
              <a:gd name="connsiteY12" fmla="*/ 3555488 h 4264910"/>
              <a:gd name="connsiteX13" fmla="*/ 5835445 w 5889610"/>
              <a:gd name="connsiteY13" fmla="*/ 3509887 h 4264910"/>
              <a:gd name="connsiteX14" fmla="*/ 5843978 w 5889610"/>
              <a:gd name="connsiteY14" fmla="*/ 3464033 h 4264910"/>
              <a:gd name="connsiteX15" fmla="*/ 5851799 w 5889610"/>
              <a:gd name="connsiteY15" fmla="*/ 3417933 h 4264910"/>
              <a:gd name="connsiteX16" fmla="*/ 5858904 w 5889610"/>
              <a:gd name="connsiteY16" fmla="*/ 3371591 h 4264910"/>
              <a:gd name="connsiteX17" fmla="*/ 5865285 w 5889610"/>
              <a:gd name="connsiteY17" fmla="*/ 3325015 h 4264910"/>
              <a:gd name="connsiteX18" fmla="*/ 5870938 w 5889610"/>
              <a:gd name="connsiteY18" fmla="*/ 3278209 h 4264910"/>
              <a:gd name="connsiteX19" fmla="*/ 5875857 w 5889610"/>
              <a:gd name="connsiteY19" fmla="*/ 3231180 h 4264910"/>
              <a:gd name="connsiteX20" fmla="*/ 5880035 w 5889610"/>
              <a:gd name="connsiteY20" fmla="*/ 3183934 h 4264910"/>
              <a:gd name="connsiteX21" fmla="*/ 5883466 w 5889610"/>
              <a:gd name="connsiteY21" fmla="*/ 3136476 h 4264910"/>
              <a:gd name="connsiteX22" fmla="*/ 5886146 w 5889610"/>
              <a:gd name="connsiteY22" fmla="*/ 3088813 h 4264910"/>
              <a:gd name="connsiteX23" fmla="*/ 5888067 w 5889610"/>
              <a:gd name="connsiteY23" fmla="*/ 3040949 h 4264910"/>
              <a:gd name="connsiteX24" fmla="*/ 5889223 w 5889610"/>
              <a:gd name="connsiteY24" fmla="*/ 2992892 h 4264910"/>
              <a:gd name="connsiteX25" fmla="*/ 5889610 w 5889610"/>
              <a:gd name="connsiteY25" fmla="*/ 2944647 h 4264910"/>
              <a:gd name="connsiteX26" fmla="*/ 5889223 w 5889610"/>
              <a:gd name="connsiteY26" fmla="*/ 2896411 h 4264910"/>
              <a:gd name="connsiteX27" fmla="*/ 5888067 w 5889610"/>
              <a:gd name="connsiteY27" fmla="*/ 2848362 h 4264910"/>
              <a:gd name="connsiteX28" fmla="*/ 5886146 w 5889610"/>
              <a:gd name="connsiteY28" fmla="*/ 2800508 h 4264910"/>
              <a:gd name="connsiteX29" fmla="*/ 5883466 w 5889610"/>
              <a:gd name="connsiteY29" fmla="*/ 2752853 h 4264910"/>
              <a:gd name="connsiteX30" fmla="*/ 5880035 w 5889610"/>
              <a:gd name="connsiteY30" fmla="*/ 2705404 h 4264910"/>
              <a:gd name="connsiteX31" fmla="*/ 5875857 w 5889610"/>
              <a:gd name="connsiteY31" fmla="*/ 2658166 h 4264910"/>
              <a:gd name="connsiteX32" fmla="*/ 5870938 w 5889610"/>
              <a:gd name="connsiteY32" fmla="*/ 2611145 h 4264910"/>
              <a:gd name="connsiteX33" fmla="*/ 5865285 w 5889610"/>
              <a:gd name="connsiteY33" fmla="*/ 2564347 h 4264910"/>
              <a:gd name="connsiteX34" fmla="*/ 5858904 w 5889610"/>
              <a:gd name="connsiteY34" fmla="*/ 2517779 h 4264910"/>
              <a:gd name="connsiteX35" fmla="*/ 5851799 w 5889610"/>
              <a:gd name="connsiteY35" fmla="*/ 2471445 h 4264910"/>
              <a:gd name="connsiteX36" fmla="*/ 5843978 w 5889610"/>
              <a:gd name="connsiteY36" fmla="*/ 2425352 h 4264910"/>
              <a:gd name="connsiteX37" fmla="*/ 5835445 w 5889610"/>
              <a:gd name="connsiteY37" fmla="*/ 2379505 h 4264910"/>
              <a:gd name="connsiteX38" fmla="*/ 5826208 w 5889610"/>
              <a:gd name="connsiteY38" fmla="*/ 2333911 h 4264910"/>
              <a:gd name="connsiteX39" fmla="*/ 5816271 w 5889610"/>
              <a:gd name="connsiteY39" fmla="*/ 2288575 h 4264910"/>
              <a:gd name="connsiteX40" fmla="*/ 5805641 w 5889610"/>
              <a:gd name="connsiteY40" fmla="*/ 2243504 h 4264910"/>
              <a:gd name="connsiteX41" fmla="*/ 5794323 w 5889610"/>
              <a:gd name="connsiteY41" fmla="*/ 2198702 h 4264910"/>
              <a:gd name="connsiteX42" fmla="*/ 5782324 w 5889610"/>
              <a:gd name="connsiteY42" fmla="*/ 2154177 h 4264910"/>
              <a:gd name="connsiteX43" fmla="*/ 5769649 w 5889610"/>
              <a:gd name="connsiteY43" fmla="*/ 2109933 h 4264910"/>
              <a:gd name="connsiteX44" fmla="*/ 5756304 w 5889610"/>
              <a:gd name="connsiteY44" fmla="*/ 2065977 h 4264910"/>
              <a:gd name="connsiteX45" fmla="*/ 5742296 w 5889610"/>
              <a:gd name="connsiteY45" fmla="*/ 2022315 h 4264910"/>
              <a:gd name="connsiteX46" fmla="*/ 5727629 w 5889610"/>
              <a:gd name="connsiteY46" fmla="*/ 1978952 h 4264910"/>
              <a:gd name="connsiteX47" fmla="*/ 5712311 w 5889610"/>
              <a:gd name="connsiteY47" fmla="*/ 1935894 h 4264910"/>
              <a:gd name="connsiteX48" fmla="*/ 5696346 w 5889610"/>
              <a:gd name="connsiteY48" fmla="*/ 1893147 h 4264910"/>
              <a:gd name="connsiteX49" fmla="*/ 5679741 w 5889610"/>
              <a:gd name="connsiteY49" fmla="*/ 1850718 h 4264910"/>
              <a:gd name="connsiteX50" fmla="*/ 5662502 w 5889610"/>
              <a:gd name="connsiteY50" fmla="*/ 1808611 h 4264910"/>
              <a:gd name="connsiteX51" fmla="*/ 5644634 w 5889610"/>
              <a:gd name="connsiteY51" fmla="*/ 1766833 h 4264910"/>
              <a:gd name="connsiteX52" fmla="*/ 5626144 w 5889610"/>
              <a:gd name="connsiteY52" fmla="*/ 1725390 h 4264910"/>
              <a:gd name="connsiteX53" fmla="*/ 5607037 w 5889610"/>
              <a:gd name="connsiteY53" fmla="*/ 1684288 h 4264910"/>
              <a:gd name="connsiteX54" fmla="*/ 5587319 w 5889610"/>
              <a:gd name="connsiteY54" fmla="*/ 1643531 h 4264910"/>
              <a:gd name="connsiteX55" fmla="*/ 5566997 w 5889610"/>
              <a:gd name="connsiteY55" fmla="*/ 1603127 h 4264910"/>
              <a:gd name="connsiteX56" fmla="*/ 5546075 w 5889610"/>
              <a:gd name="connsiteY56" fmla="*/ 1563082 h 4264910"/>
              <a:gd name="connsiteX57" fmla="*/ 5524560 w 5889610"/>
              <a:gd name="connsiteY57" fmla="*/ 1523400 h 4264910"/>
              <a:gd name="connsiteX58" fmla="*/ 5502458 w 5889610"/>
              <a:gd name="connsiteY58" fmla="*/ 1484088 h 4264910"/>
              <a:gd name="connsiteX59" fmla="*/ 5479775 w 5889610"/>
              <a:gd name="connsiteY59" fmla="*/ 1445152 h 4264910"/>
              <a:gd name="connsiteX60" fmla="*/ 5456516 w 5889610"/>
              <a:gd name="connsiteY60" fmla="*/ 1406597 h 4264910"/>
              <a:gd name="connsiteX61" fmla="*/ 5432688 w 5889610"/>
              <a:gd name="connsiteY61" fmla="*/ 1368430 h 4264910"/>
              <a:gd name="connsiteX62" fmla="*/ 5408296 w 5889610"/>
              <a:gd name="connsiteY62" fmla="*/ 1330656 h 4264910"/>
              <a:gd name="connsiteX63" fmla="*/ 5383346 w 5889610"/>
              <a:gd name="connsiteY63" fmla="*/ 1293282 h 4264910"/>
              <a:gd name="connsiteX64" fmla="*/ 5357845 w 5889610"/>
              <a:gd name="connsiteY64" fmla="*/ 1256313 h 4264910"/>
              <a:gd name="connsiteX65" fmla="*/ 5331797 w 5889610"/>
              <a:gd name="connsiteY65" fmla="*/ 1219754 h 4264910"/>
              <a:gd name="connsiteX66" fmla="*/ 5305210 w 5889610"/>
              <a:gd name="connsiteY66" fmla="*/ 1183613 h 4264910"/>
              <a:gd name="connsiteX67" fmla="*/ 5278088 w 5889610"/>
              <a:gd name="connsiteY67" fmla="*/ 1147894 h 4264910"/>
              <a:gd name="connsiteX68" fmla="*/ 5250438 w 5889610"/>
              <a:gd name="connsiteY68" fmla="*/ 1112604 h 4264910"/>
              <a:gd name="connsiteX69" fmla="*/ 5222266 w 5889610"/>
              <a:gd name="connsiteY69" fmla="*/ 1077748 h 4264910"/>
              <a:gd name="connsiteX70" fmla="*/ 5193577 w 5889610"/>
              <a:gd name="connsiteY70" fmla="*/ 1043332 h 4264910"/>
              <a:gd name="connsiteX71" fmla="*/ 5164378 w 5889610"/>
              <a:gd name="connsiteY71" fmla="*/ 1009363 h 4264910"/>
              <a:gd name="connsiteX72" fmla="*/ 5134674 w 5889610"/>
              <a:gd name="connsiteY72" fmla="*/ 975846 h 4264910"/>
              <a:gd name="connsiteX73" fmla="*/ 5104471 w 5889610"/>
              <a:gd name="connsiteY73" fmla="*/ 942787 h 4264910"/>
              <a:gd name="connsiteX74" fmla="*/ 5073776 w 5889610"/>
              <a:gd name="connsiteY74" fmla="*/ 910192 h 4264910"/>
              <a:gd name="connsiteX75" fmla="*/ 5042593 w 5889610"/>
              <a:gd name="connsiteY75" fmla="*/ 878066 h 4264910"/>
              <a:gd name="connsiteX76" fmla="*/ 5010930 w 5889610"/>
              <a:gd name="connsiteY76" fmla="*/ 846416 h 4264910"/>
              <a:gd name="connsiteX77" fmla="*/ 4978791 w 5889610"/>
              <a:gd name="connsiteY77" fmla="*/ 815247 h 4264910"/>
              <a:gd name="connsiteX78" fmla="*/ 4946183 w 5889610"/>
              <a:gd name="connsiteY78" fmla="*/ 784566 h 4264910"/>
              <a:gd name="connsiteX79" fmla="*/ 4913111 w 5889610"/>
              <a:gd name="connsiteY79" fmla="*/ 754377 h 4264910"/>
              <a:gd name="connsiteX80" fmla="*/ 4879582 w 5889610"/>
              <a:gd name="connsiteY80" fmla="*/ 724688 h 4264910"/>
              <a:gd name="connsiteX81" fmla="*/ 4845602 w 5889610"/>
              <a:gd name="connsiteY81" fmla="*/ 695504 h 4264910"/>
              <a:gd name="connsiteX82" fmla="*/ 4811176 w 5889610"/>
              <a:gd name="connsiteY82" fmla="*/ 666831 h 4264910"/>
              <a:gd name="connsiteX83" fmla="*/ 4776309 w 5889610"/>
              <a:gd name="connsiteY83" fmla="*/ 638674 h 4264910"/>
              <a:gd name="connsiteX84" fmla="*/ 4741009 w 5889610"/>
              <a:gd name="connsiteY84" fmla="*/ 611040 h 4264910"/>
              <a:gd name="connsiteX85" fmla="*/ 4705281 w 5889610"/>
              <a:gd name="connsiteY85" fmla="*/ 583934 h 4264910"/>
              <a:gd name="connsiteX86" fmla="*/ 4669131 w 5889610"/>
              <a:gd name="connsiteY86" fmla="*/ 557362 h 4264910"/>
              <a:gd name="connsiteX87" fmla="*/ 4632565 w 5889610"/>
              <a:gd name="connsiteY87" fmla="*/ 531331 h 4264910"/>
              <a:gd name="connsiteX88" fmla="*/ 4595588 w 5889610"/>
              <a:gd name="connsiteY88" fmla="*/ 505845 h 4264910"/>
              <a:gd name="connsiteX89" fmla="*/ 4558207 w 5889610"/>
              <a:gd name="connsiteY89" fmla="*/ 480912 h 4264910"/>
              <a:gd name="connsiteX90" fmla="*/ 4520427 w 5889610"/>
              <a:gd name="connsiteY90" fmla="*/ 456536 h 4264910"/>
              <a:gd name="connsiteX91" fmla="*/ 4482255 w 5889610"/>
              <a:gd name="connsiteY91" fmla="*/ 432724 h 4264910"/>
              <a:gd name="connsiteX92" fmla="*/ 4443696 w 5889610"/>
              <a:gd name="connsiteY92" fmla="*/ 409481 h 4264910"/>
              <a:gd name="connsiteX93" fmla="*/ 4404756 w 5889610"/>
              <a:gd name="connsiteY93" fmla="*/ 386814 h 4264910"/>
              <a:gd name="connsiteX94" fmla="*/ 4365441 w 5889610"/>
              <a:gd name="connsiteY94" fmla="*/ 364727 h 4264910"/>
              <a:gd name="connsiteX95" fmla="*/ 4325757 w 5889610"/>
              <a:gd name="connsiteY95" fmla="*/ 343228 h 4264910"/>
              <a:gd name="connsiteX96" fmla="*/ 4285710 w 5889610"/>
              <a:gd name="connsiteY96" fmla="*/ 322322 h 4264910"/>
              <a:gd name="connsiteX97" fmla="*/ 4245306 w 5889610"/>
              <a:gd name="connsiteY97" fmla="*/ 302015 h 4264910"/>
              <a:gd name="connsiteX98" fmla="*/ 4204550 w 5889610"/>
              <a:gd name="connsiteY98" fmla="*/ 282313 h 4264910"/>
              <a:gd name="connsiteX99" fmla="*/ 4163449 w 5889610"/>
              <a:gd name="connsiteY99" fmla="*/ 263221 h 4264910"/>
              <a:gd name="connsiteX100" fmla="*/ 4122008 w 5889610"/>
              <a:gd name="connsiteY100" fmla="*/ 244746 h 4264910"/>
              <a:gd name="connsiteX101" fmla="*/ 4080233 w 5889610"/>
              <a:gd name="connsiteY101" fmla="*/ 226893 h 4264910"/>
              <a:gd name="connsiteX102" fmla="*/ 4038131 w 5889610"/>
              <a:gd name="connsiteY102" fmla="*/ 209668 h 4264910"/>
              <a:gd name="connsiteX103" fmla="*/ 3995707 w 5889610"/>
              <a:gd name="connsiteY103" fmla="*/ 193077 h 4264910"/>
              <a:gd name="connsiteX104" fmla="*/ 3952967 w 5889610"/>
              <a:gd name="connsiteY104" fmla="*/ 177126 h 4264910"/>
              <a:gd name="connsiteX105" fmla="*/ 3909916 w 5889610"/>
              <a:gd name="connsiteY105" fmla="*/ 161821 h 4264910"/>
              <a:gd name="connsiteX106" fmla="*/ 3866562 w 5889610"/>
              <a:gd name="connsiteY106" fmla="*/ 147168 h 4264910"/>
              <a:gd name="connsiteX107" fmla="*/ 3822909 w 5889610"/>
              <a:gd name="connsiteY107" fmla="*/ 133172 h 4264910"/>
              <a:gd name="connsiteX108" fmla="*/ 3778964 w 5889610"/>
              <a:gd name="connsiteY108" fmla="*/ 119840 h 4264910"/>
              <a:gd name="connsiteX109" fmla="*/ 3734732 w 5889610"/>
              <a:gd name="connsiteY109" fmla="*/ 107177 h 4264910"/>
              <a:gd name="connsiteX110" fmla="*/ 3690220 w 5889610"/>
              <a:gd name="connsiteY110" fmla="*/ 95189 h 4264910"/>
              <a:gd name="connsiteX111" fmla="*/ 3645433 w 5889610"/>
              <a:gd name="connsiteY111" fmla="*/ 83883 h 4264910"/>
              <a:gd name="connsiteX112" fmla="*/ 3600377 w 5889610"/>
              <a:gd name="connsiteY112" fmla="*/ 73263 h 4264910"/>
              <a:gd name="connsiteX113" fmla="*/ 3555058 w 5889610"/>
              <a:gd name="connsiteY113" fmla="*/ 63336 h 4264910"/>
              <a:gd name="connsiteX114" fmla="*/ 3509482 w 5889610"/>
              <a:gd name="connsiteY114" fmla="*/ 54107 h 4264910"/>
              <a:gd name="connsiteX115" fmla="*/ 3463655 w 5889610"/>
              <a:gd name="connsiteY115" fmla="*/ 45584 h 4264910"/>
              <a:gd name="connsiteX116" fmla="*/ 3417583 w 5889610"/>
              <a:gd name="connsiteY116" fmla="*/ 37770 h 4264910"/>
              <a:gd name="connsiteX117" fmla="*/ 3371271 w 5889610"/>
              <a:gd name="connsiteY117" fmla="*/ 30673 h 4264910"/>
              <a:gd name="connsiteX118" fmla="*/ 3324726 w 5889610"/>
              <a:gd name="connsiteY118" fmla="*/ 24298 h 4264910"/>
              <a:gd name="connsiteX119" fmla="*/ 3277953 w 5889610"/>
              <a:gd name="connsiteY119" fmla="*/ 18651 h 4264910"/>
              <a:gd name="connsiteX120" fmla="*/ 3230959 w 5889610"/>
              <a:gd name="connsiteY120" fmla="*/ 13738 h 4264910"/>
              <a:gd name="connsiteX121" fmla="*/ 3183749 w 5889610"/>
              <a:gd name="connsiteY121" fmla="*/ 9564 h 4264910"/>
              <a:gd name="connsiteX122" fmla="*/ 3136329 w 5889610"/>
              <a:gd name="connsiteY122" fmla="*/ 6137 h 4264910"/>
              <a:gd name="connsiteX123" fmla="*/ 3088705 w 5889610"/>
              <a:gd name="connsiteY123" fmla="*/ 3461 h 4264910"/>
              <a:gd name="connsiteX124" fmla="*/ 3040883 w 5889610"/>
              <a:gd name="connsiteY124" fmla="*/ 1542 h 4264910"/>
              <a:gd name="connsiteX125" fmla="*/ 2992869 w 5889610"/>
              <a:gd name="connsiteY125" fmla="*/ 386 h 4264910"/>
              <a:gd name="connsiteX126" fmla="*/ 2944668 w 5889610"/>
              <a:gd name="connsiteY126" fmla="*/ 0 h 4264910"/>
              <a:gd name="connsiteX127" fmla="*/ 2896458 w 5889610"/>
              <a:gd name="connsiteY127" fmla="*/ 386 h 4264910"/>
              <a:gd name="connsiteX128" fmla="*/ 2848435 w 5889610"/>
              <a:gd name="connsiteY128" fmla="*/ 1542 h 4264910"/>
              <a:gd name="connsiteX129" fmla="*/ 2800604 w 5889610"/>
              <a:gd name="connsiteY129" fmla="*/ 3461 h 4264910"/>
              <a:gd name="connsiteX130" fmla="*/ 2752972 w 5889610"/>
              <a:gd name="connsiteY130" fmla="*/ 6137 h 4264910"/>
              <a:gd name="connsiteX131" fmla="*/ 2705544 w 5889610"/>
              <a:gd name="connsiteY131" fmla="*/ 9564 h 4264910"/>
              <a:gd name="connsiteX132" fmla="*/ 2658327 w 5889610"/>
              <a:gd name="connsiteY132" fmla="*/ 13738 h 4264910"/>
              <a:gd name="connsiteX133" fmla="*/ 2611326 w 5889610"/>
              <a:gd name="connsiteY133" fmla="*/ 18651 h 4264910"/>
              <a:gd name="connsiteX134" fmla="*/ 2564548 w 5889610"/>
              <a:gd name="connsiteY134" fmla="*/ 24298 h 4264910"/>
              <a:gd name="connsiteX135" fmla="*/ 2517997 w 5889610"/>
              <a:gd name="connsiteY135" fmla="*/ 30673 h 4264910"/>
              <a:gd name="connsiteX136" fmla="*/ 2471680 w 5889610"/>
              <a:gd name="connsiteY136" fmla="*/ 37770 h 4264910"/>
              <a:gd name="connsiteX137" fmla="*/ 2425603 w 5889610"/>
              <a:gd name="connsiteY137" fmla="*/ 45584 h 4264910"/>
              <a:gd name="connsiteX138" fmla="*/ 2379772 w 5889610"/>
              <a:gd name="connsiteY138" fmla="*/ 54107 h 4264910"/>
              <a:gd name="connsiteX139" fmla="*/ 2334192 w 5889610"/>
              <a:gd name="connsiteY139" fmla="*/ 63336 h 4264910"/>
              <a:gd name="connsiteX140" fmla="*/ 2288870 w 5889610"/>
              <a:gd name="connsiteY140" fmla="*/ 73263 h 4264910"/>
              <a:gd name="connsiteX141" fmla="*/ 2243811 w 5889610"/>
              <a:gd name="connsiteY141" fmla="*/ 83883 h 4264910"/>
              <a:gd name="connsiteX142" fmla="*/ 2199022 w 5889610"/>
              <a:gd name="connsiteY142" fmla="*/ 95189 h 4264910"/>
              <a:gd name="connsiteX143" fmla="*/ 2154507 w 5889610"/>
              <a:gd name="connsiteY143" fmla="*/ 107177 h 4264910"/>
              <a:gd name="connsiteX144" fmla="*/ 2110274 w 5889610"/>
              <a:gd name="connsiteY144" fmla="*/ 119840 h 4264910"/>
              <a:gd name="connsiteX145" fmla="*/ 2066327 w 5889610"/>
              <a:gd name="connsiteY145" fmla="*/ 133172 h 4264910"/>
              <a:gd name="connsiteX146" fmla="*/ 2022674 w 5889610"/>
              <a:gd name="connsiteY146" fmla="*/ 147168 h 4264910"/>
              <a:gd name="connsiteX147" fmla="*/ 1979319 w 5889610"/>
              <a:gd name="connsiteY147" fmla="*/ 161821 h 4264910"/>
              <a:gd name="connsiteX148" fmla="*/ 1936268 w 5889610"/>
              <a:gd name="connsiteY148" fmla="*/ 177126 h 4264910"/>
              <a:gd name="connsiteX149" fmla="*/ 1893528 w 5889610"/>
              <a:gd name="connsiteY149" fmla="*/ 193077 h 4264910"/>
              <a:gd name="connsiteX150" fmla="*/ 1851105 w 5889610"/>
              <a:gd name="connsiteY150" fmla="*/ 209668 h 4264910"/>
              <a:gd name="connsiteX151" fmla="*/ 1809003 w 5889610"/>
              <a:gd name="connsiteY151" fmla="*/ 226893 h 4264910"/>
              <a:gd name="connsiteX152" fmla="*/ 1767230 w 5889610"/>
              <a:gd name="connsiteY152" fmla="*/ 244746 h 4264910"/>
              <a:gd name="connsiteX153" fmla="*/ 1725791 w 5889610"/>
              <a:gd name="connsiteY153" fmla="*/ 263221 h 4264910"/>
              <a:gd name="connsiteX154" fmla="*/ 1684691 w 5889610"/>
              <a:gd name="connsiteY154" fmla="*/ 282313 h 4264910"/>
              <a:gd name="connsiteX155" fmla="*/ 1643938 w 5889610"/>
              <a:gd name="connsiteY155" fmla="*/ 302015 h 4264910"/>
              <a:gd name="connsiteX156" fmla="*/ 1603536 w 5889610"/>
              <a:gd name="connsiteY156" fmla="*/ 322322 h 4264910"/>
              <a:gd name="connsiteX157" fmla="*/ 1563492 w 5889610"/>
              <a:gd name="connsiteY157" fmla="*/ 343228 h 4264910"/>
              <a:gd name="connsiteX158" fmla="*/ 1523811 w 5889610"/>
              <a:gd name="connsiteY158" fmla="*/ 364727 h 4264910"/>
              <a:gd name="connsiteX159" fmla="*/ 1484499 w 5889610"/>
              <a:gd name="connsiteY159" fmla="*/ 386814 h 4264910"/>
              <a:gd name="connsiteX160" fmla="*/ 1445563 w 5889610"/>
              <a:gd name="connsiteY160" fmla="*/ 409481 h 4264910"/>
              <a:gd name="connsiteX161" fmla="*/ 1407007 w 5889610"/>
              <a:gd name="connsiteY161" fmla="*/ 432724 h 4264910"/>
              <a:gd name="connsiteX162" fmla="*/ 1368839 w 5889610"/>
              <a:gd name="connsiteY162" fmla="*/ 456536 h 4264910"/>
              <a:gd name="connsiteX163" fmla="*/ 1331064 w 5889610"/>
              <a:gd name="connsiteY163" fmla="*/ 480912 h 4264910"/>
              <a:gd name="connsiteX164" fmla="*/ 1293687 w 5889610"/>
              <a:gd name="connsiteY164" fmla="*/ 505845 h 4264910"/>
              <a:gd name="connsiteX165" fmla="*/ 1256715 w 5889610"/>
              <a:gd name="connsiteY165" fmla="*/ 531331 h 4264910"/>
              <a:gd name="connsiteX166" fmla="*/ 1220154 w 5889610"/>
              <a:gd name="connsiteY166" fmla="*/ 557362 h 4264910"/>
              <a:gd name="connsiteX167" fmla="*/ 1184009 w 5889610"/>
              <a:gd name="connsiteY167" fmla="*/ 583934 h 4264910"/>
              <a:gd name="connsiteX168" fmla="*/ 1148286 w 5889610"/>
              <a:gd name="connsiteY168" fmla="*/ 611040 h 4264910"/>
              <a:gd name="connsiteX169" fmla="*/ 1112991 w 5889610"/>
              <a:gd name="connsiteY169" fmla="*/ 638674 h 4264910"/>
              <a:gd name="connsiteX170" fmla="*/ 1078131 w 5889610"/>
              <a:gd name="connsiteY170" fmla="*/ 666831 h 4264910"/>
              <a:gd name="connsiteX171" fmla="*/ 1043710 w 5889610"/>
              <a:gd name="connsiteY171" fmla="*/ 695504 h 4264910"/>
              <a:gd name="connsiteX172" fmla="*/ 1009736 w 5889610"/>
              <a:gd name="connsiteY172" fmla="*/ 724688 h 4264910"/>
              <a:gd name="connsiteX173" fmla="*/ 976213 w 5889610"/>
              <a:gd name="connsiteY173" fmla="*/ 754377 h 4264910"/>
              <a:gd name="connsiteX174" fmla="*/ 943148 w 5889610"/>
              <a:gd name="connsiteY174" fmla="*/ 784566 h 4264910"/>
              <a:gd name="connsiteX175" fmla="*/ 910546 w 5889610"/>
              <a:gd name="connsiteY175" fmla="*/ 815247 h 4264910"/>
              <a:gd name="connsiteX176" fmla="*/ 878413 w 5889610"/>
              <a:gd name="connsiteY176" fmla="*/ 846416 h 4264910"/>
              <a:gd name="connsiteX177" fmla="*/ 846756 w 5889610"/>
              <a:gd name="connsiteY177" fmla="*/ 878066 h 4264910"/>
              <a:gd name="connsiteX178" fmla="*/ 815581 w 5889610"/>
              <a:gd name="connsiteY178" fmla="*/ 910192 h 4264910"/>
              <a:gd name="connsiteX179" fmla="*/ 784892 w 5889610"/>
              <a:gd name="connsiteY179" fmla="*/ 942787 h 4264910"/>
              <a:gd name="connsiteX180" fmla="*/ 754696 w 5889610"/>
              <a:gd name="connsiteY180" fmla="*/ 975846 h 4264910"/>
              <a:gd name="connsiteX181" fmla="*/ 724999 w 5889610"/>
              <a:gd name="connsiteY181" fmla="*/ 1009363 h 4264910"/>
              <a:gd name="connsiteX182" fmla="*/ 695807 w 5889610"/>
              <a:gd name="connsiteY182" fmla="*/ 1043332 h 4264910"/>
              <a:gd name="connsiteX183" fmla="*/ 667125 w 5889610"/>
              <a:gd name="connsiteY183" fmla="*/ 1077748 h 4264910"/>
              <a:gd name="connsiteX184" fmla="*/ 638960 w 5889610"/>
              <a:gd name="connsiteY184" fmla="*/ 1112604 h 4264910"/>
              <a:gd name="connsiteX185" fmla="*/ 611317 w 5889610"/>
              <a:gd name="connsiteY185" fmla="*/ 1147894 h 4264910"/>
              <a:gd name="connsiteX186" fmla="*/ 584202 w 5889610"/>
              <a:gd name="connsiteY186" fmla="*/ 1183613 h 4264910"/>
              <a:gd name="connsiteX187" fmla="*/ 557622 w 5889610"/>
              <a:gd name="connsiteY187" fmla="*/ 1219754 h 4264910"/>
              <a:gd name="connsiteX188" fmla="*/ 531582 w 5889610"/>
              <a:gd name="connsiteY188" fmla="*/ 1256313 h 4264910"/>
              <a:gd name="connsiteX189" fmla="*/ 506087 w 5889610"/>
              <a:gd name="connsiteY189" fmla="*/ 1293282 h 4264910"/>
              <a:gd name="connsiteX190" fmla="*/ 481145 w 5889610"/>
              <a:gd name="connsiteY190" fmla="*/ 1330656 h 4264910"/>
              <a:gd name="connsiteX191" fmla="*/ 456760 w 5889610"/>
              <a:gd name="connsiteY191" fmla="*/ 1368430 h 4264910"/>
              <a:gd name="connsiteX192" fmla="*/ 432939 w 5889610"/>
              <a:gd name="connsiteY192" fmla="*/ 1406597 h 4264910"/>
              <a:gd name="connsiteX193" fmla="*/ 409687 w 5889610"/>
              <a:gd name="connsiteY193" fmla="*/ 1445152 h 4264910"/>
              <a:gd name="connsiteX194" fmla="*/ 387011 w 5889610"/>
              <a:gd name="connsiteY194" fmla="*/ 1484088 h 4264910"/>
              <a:gd name="connsiteX195" fmla="*/ 364915 w 5889610"/>
              <a:gd name="connsiteY195" fmla="*/ 1523400 h 4264910"/>
              <a:gd name="connsiteX196" fmla="*/ 343407 w 5889610"/>
              <a:gd name="connsiteY196" fmla="*/ 1563082 h 4264910"/>
              <a:gd name="connsiteX197" fmla="*/ 322492 w 5889610"/>
              <a:gd name="connsiteY197" fmla="*/ 1603127 h 4264910"/>
              <a:gd name="connsiteX198" fmla="*/ 302176 w 5889610"/>
              <a:gd name="connsiteY198" fmla="*/ 1643531 h 4264910"/>
              <a:gd name="connsiteX199" fmla="*/ 282465 w 5889610"/>
              <a:gd name="connsiteY199" fmla="*/ 1684288 h 4264910"/>
              <a:gd name="connsiteX200" fmla="*/ 263365 w 5889610"/>
              <a:gd name="connsiteY200" fmla="*/ 1725390 h 4264910"/>
              <a:gd name="connsiteX201" fmla="*/ 244881 w 5889610"/>
              <a:gd name="connsiteY201" fmla="*/ 1766833 h 4264910"/>
              <a:gd name="connsiteX202" fmla="*/ 227019 w 5889610"/>
              <a:gd name="connsiteY202" fmla="*/ 1808611 h 4264910"/>
              <a:gd name="connsiteX203" fmla="*/ 209786 w 5889610"/>
              <a:gd name="connsiteY203" fmla="*/ 1850718 h 4264910"/>
              <a:gd name="connsiteX204" fmla="*/ 193187 w 5889610"/>
              <a:gd name="connsiteY204" fmla="*/ 1893147 h 4264910"/>
              <a:gd name="connsiteX205" fmla="*/ 177228 w 5889610"/>
              <a:gd name="connsiteY205" fmla="*/ 1935894 h 4264910"/>
              <a:gd name="connsiteX206" fmla="*/ 161915 w 5889610"/>
              <a:gd name="connsiteY206" fmla="*/ 1978952 h 4264910"/>
              <a:gd name="connsiteX207" fmla="*/ 147254 w 5889610"/>
              <a:gd name="connsiteY207" fmla="*/ 2022315 h 4264910"/>
              <a:gd name="connsiteX208" fmla="*/ 133251 w 5889610"/>
              <a:gd name="connsiteY208" fmla="*/ 2065977 h 4264910"/>
              <a:gd name="connsiteX209" fmla="*/ 119912 w 5889610"/>
              <a:gd name="connsiteY209" fmla="*/ 2109933 h 4264910"/>
              <a:gd name="connsiteX210" fmla="*/ 107242 w 5889610"/>
              <a:gd name="connsiteY210" fmla="*/ 2154177 h 4264910"/>
              <a:gd name="connsiteX211" fmla="*/ 95247 w 5889610"/>
              <a:gd name="connsiteY211" fmla="*/ 2198702 h 4264910"/>
              <a:gd name="connsiteX212" fmla="*/ 83934 w 5889610"/>
              <a:gd name="connsiteY212" fmla="*/ 2243504 h 4264910"/>
              <a:gd name="connsiteX213" fmla="*/ 73308 w 5889610"/>
              <a:gd name="connsiteY213" fmla="*/ 2288575 h 4264910"/>
              <a:gd name="connsiteX214" fmla="*/ 63375 w 5889610"/>
              <a:gd name="connsiteY214" fmla="*/ 2333911 h 4264910"/>
              <a:gd name="connsiteX215" fmla="*/ 54141 w 5889610"/>
              <a:gd name="connsiteY215" fmla="*/ 2379505 h 4264910"/>
              <a:gd name="connsiteX216" fmla="*/ 45613 w 5889610"/>
              <a:gd name="connsiteY216" fmla="*/ 2425352 h 4264910"/>
              <a:gd name="connsiteX217" fmla="*/ 37794 w 5889610"/>
              <a:gd name="connsiteY217" fmla="*/ 2471445 h 4264910"/>
              <a:gd name="connsiteX218" fmla="*/ 30693 w 5889610"/>
              <a:gd name="connsiteY218" fmla="*/ 2517779 h 4264910"/>
              <a:gd name="connsiteX219" fmla="*/ 24314 w 5889610"/>
              <a:gd name="connsiteY219" fmla="*/ 2564347 h 4264910"/>
              <a:gd name="connsiteX220" fmla="*/ 18663 w 5889610"/>
              <a:gd name="connsiteY220" fmla="*/ 2611145 h 4264910"/>
              <a:gd name="connsiteX221" fmla="*/ 13747 w 5889610"/>
              <a:gd name="connsiteY221" fmla="*/ 2658166 h 4264910"/>
              <a:gd name="connsiteX222" fmla="*/ 9571 w 5889610"/>
              <a:gd name="connsiteY222" fmla="*/ 2705404 h 4264910"/>
              <a:gd name="connsiteX223" fmla="*/ 6141 w 5889610"/>
              <a:gd name="connsiteY223" fmla="*/ 2752853 h 4264910"/>
              <a:gd name="connsiteX224" fmla="*/ 3463 w 5889610"/>
              <a:gd name="connsiteY224" fmla="*/ 2800508 h 4264910"/>
              <a:gd name="connsiteX225" fmla="*/ 1543 w 5889610"/>
              <a:gd name="connsiteY225" fmla="*/ 2848362 h 4264910"/>
              <a:gd name="connsiteX226" fmla="*/ 386 w 5889610"/>
              <a:gd name="connsiteY226" fmla="*/ 2896411 h 4264910"/>
              <a:gd name="connsiteX227" fmla="*/ 0 w 5889610"/>
              <a:gd name="connsiteY227"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644634 w 5889610"/>
              <a:gd name="connsiteY0" fmla="*/ 4122645 h 4264910"/>
              <a:gd name="connsiteX1" fmla="*/ 5662502 w 5889610"/>
              <a:gd name="connsiteY1" fmla="*/ 4080862 h 4264910"/>
              <a:gd name="connsiteX2" fmla="*/ 5679741 w 5889610"/>
              <a:gd name="connsiteY2" fmla="*/ 4038750 h 4264910"/>
              <a:gd name="connsiteX3" fmla="*/ 5696346 w 5889610"/>
              <a:gd name="connsiteY3" fmla="*/ 3996315 h 4264910"/>
              <a:gd name="connsiteX4" fmla="*/ 5712311 w 5889610"/>
              <a:gd name="connsiteY4" fmla="*/ 3953563 h 4264910"/>
              <a:gd name="connsiteX5" fmla="*/ 5727629 w 5889610"/>
              <a:gd name="connsiteY5" fmla="*/ 3910499 h 4264910"/>
              <a:gd name="connsiteX6" fmla="*/ 5742296 w 5889610"/>
              <a:gd name="connsiteY6" fmla="*/ 3867130 h 4264910"/>
              <a:gd name="connsiteX7" fmla="*/ 5756304 w 5889610"/>
              <a:gd name="connsiteY7" fmla="*/ 3823462 h 4264910"/>
              <a:gd name="connsiteX8" fmla="*/ 5769649 w 5889610"/>
              <a:gd name="connsiteY8" fmla="*/ 3779500 h 4264910"/>
              <a:gd name="connsiteX9" fmla="*/ 5782324 w 5889610"/>
              <a:gd name="connsiteY9" fmla="*/ 3735250 h 4264910"/>
              <a:gd name="connsiteX10" fmla="*/ 5794323 w 5889610"/>
              <a:gd name="connsiteY10" fmla="*/ 3690717 h 4264910"/>
              <a:gd name="connsiteX11" fmla="*/ 5826208 w 5889610"/>
              <a:gd name="connsiteY11" fmla="*/ 3555488 h 4264910"/>
              <a:gd name="connsiteX12" fmla="*/ 5835445 w 5889610"/>
              <a:gd name="connsiteY12" fmla="*/ 3509887 h 4264910"/>
              <a:gd name="connsiteX13" fmla="*/ 5843978 w 5889610"/>
              <a:gd name="connsiteY13" fmla="*/ 3464033 h 4264910"/>
              <a:gd name="connsiteX14" fmla="*/ 5851799 w 5889610"/>
              <a:gd name="connsiteY14" fmla="*/ 3417933 h 4264910"/>
              <a:gd name="connsiteX15" fmla="*/ 5858904 w 5889610"/>
              <a:gd name="connsiteY15" fmla="*/ 3371591 h 4264910"/>
              <a:gd name="connsiteX16" fmla="*/ 5865285 w 5889610"/>
              <a:gd name="connsiteY16" fmla="*/ 3325015 h 4264910"/>
              <a:gd name="connsiteX17" fmla="*/ 5870938 w 5889610"/>
              <a:gd name="connsiteY17" fmla="*/ 3278209 h 4264910"/>
              <a:gd name="connsiteX18" fmla="*/ 5875857 w 5889610"/>
              <a:gd name="connsiteY18" fmla="*/ 3231180 h 4264910"/>
              <a:gd name="connsiteX19" fmla="*/ 5880035 w 5889610"/>
              <a:gd name="connsiteY19" fmla="*/ 3183934 h 4264910"/>
              <a:gd name="connsiteX20" fmla="*/ 5883466 w 5889610"/>
              <a:gd name="connsiteY20" fmla="*/ 3136476 h 4264910"/>
              <a:gd name="connsiteX21" fmla="*/ 5886146 w 5889610"/>
              <a:gd name="connsiteY21" fmla="*/ 3088813 h 4264910"/>
              <a:gd name="connsiteX22" fmla="*/ 5888067 w 5889610"/>
              <a:gd name="connsiteY22" fmla="*/ 3040949 h 4264910"/>
              <a:gd name="connsiteX23" fmla="*/ 5889223 w 5889610"/>
              <a:gd name="connsiteY23" fmla="*/ 2992892 h 4264910"/>
              <a:gd name="connsiteX24" fmla="*/ 5889610 w 5889610"/>
              <a:gd name="connsiteY24" fmla="*/ 2944647 h 4264910"/>
              <a:gd name="connsiteX25" fmla="*/ 5889223 w 5889610"/>
              <a:gd name="connsiteY25" fmla="*/ 2896411 h 4264910"/>
              <a:gd name="connsiteX26" fmla="*/ 5888067 w 5889610"/>
              <a:gd name="connsiteY26" fmla="*/ 2848362 h 4264910"/>
              <a:gd name="connsiteX27" fmla="*/ 5886146 w 5889610"/>
              <a:gd name="connsiteY27" fmla="*/ 2800508 h 4264910"/>
              <a:gd name="connsiteX28" fmla="*/ 5883466 w 5889610"/>
              <a:gd name="connsiteY28" fmla="*/ 2752853 h 4264910"/>
              <a:gd name="connsiteX29" fmla="*/ 5880035 w 5889610"/>
              <a:gd name="connsiteY29" fmla="*/ 2705404 h 4264910"/>
              <a:gd name="connsiteX30" fmla="*/ 5875857 w 5889610"/>
              <a:gd name="connsiteY30" fmla="*/ 2658166 h 4264910"/>
              <a:gd name="connsiteX31" fmla="*/ 5870938 w 5889610"/>
              <a:gd name="connsiteY31" fmla="*/ 2611145 h 4264910"/>
              <a:gd name="connsiteX32" fmla="*/ 5865285 w 5889610"/>
              <a:gd name="connsiteY32" fmla="*/ 2564347 h 4264910"/>
              <a:gd name="connsiteX33" fmla="*/ 5858904 w 5889610"/>
              <a:gd name="connsiteY33" fmla="*/ 2517779 h 4264910"/>
              <a:gd name="connsiteX34" fmla="*/ 5851799 w 5889610"/>
              <a:gd name="connsiteY34" fmla="*/ 2471445 h 4264910"/>
              <a:gd name="connsiteX35" fmla="*/ 5843978 w 5889610"/>
              <a:gd name="connsiteY35" fmla="*/ 2425352 h 4264910"/>
              <a:gd name="connsiteX36" fmla="*/ 5835445 w 5889610"/>
              <a:gd name="connsiteY36" fmla="*/ 2379505 h 4264910"/>
              <a:gd name="connsiteX37" fmla="*/ 5826208 w 5889610"/>
              <a:gd name="connsiteY37" fmla="*/ 2333911 h 4264910"/>
              <a:gd name="connsiteX38" fmla="*/ 5816271 w 5889610"/>
              <a:gd name="connsiteY38" fmla="*/ 2288575 h 4264910"/>
              <a:gd name="connsiteX39" fmla="*/ 5805641 w 5889610"/>
              <a:gd name="connsiteY39" fmla="*/ 2243504 h 4264910"/>
              <a:gd name="connsiteX40" fmla="*/ 5794323 w 5889610"/>
              <a:gd name="connsiteY40" fmla="*/ 2198702 h 4264910"/>
              <a:gd name="connsiteX41" fmla="*/ 5782324 w 5889610"/>
              <a:gd name="connsiteY41" fmla="*/ 2154177 h 4264910"/>
              <a:gd name="connsiteX42" fmla="*/ 5769649 w 5889610"/>
              <a:gd name="connsiteY42" fmla="*/ 2109933 h 4264910"/>
              <a:gd name="connsiteX43" fmla="*/ 5756304 w 5889610"/>
              <a:gd name="connsiteY43" fmla="*/ 2065977 h 4264910"/>
              <a:gd name="connsiteX44" fmla="*/ 5742296 w 5889610"/>
              <a:gd name="connsiteY44" fmla="*/ 2022315 h 4264910"/>
              <a:gd name="connsiteX45" fmla="*/ 5727629 w 5889610"/>
              <a:gd name="connsiteY45" fmla="*/ 1978952 h 4264910"/>
              <a:gd name="connsiteX46" fmla="*/ 5712311 w 5889610"/>
              <a:gd name="connsiteY46" fmla="*/ 1935894 h 4264910"/>
              <a:gd name="connsiteX47" fmla="*/ 5696346 w 5889610"/>
              <a:gd name="connsiteY47" fmla="*/ 1893147 h 4264910"/>
              <a:gd name="connsiteX48" fmla="*/ 5679741 w 5889610"/>
              <a:gd name="connsiteY48" fmla="*/ 1850718 h 4264910"/>
              <a:gd name="connsiteX49" fmla="*/ 5662502 w 5889610"/>
              <a:gd name="connsiteY49" fmla="*/ 1808611 h 4264910"/>
              <a:gd name="connsiteX50" fmla="*/ 5644634 w 5889610"/>
              <a:gd name="connsiteY50" fmla="*/ 1766833 h 4264910"/>
              <a:gd name="connsiteX51" fmla="*/ 5626144 w 5889610"/>
              <a:gd name="connsiteY51" fmla="*/ 1725390 h 4264910"/>
              <a:gd name="connsiteX52" fmla="*/ 5607037 w 5889610"/>
              <a:gd name="connsiteY52" fmla="*/ 1684288 h 4264910"/>
              <a:gd name="connsiteX53" fmla="*/ 5587319 w 5889610"/>
              <a:gd name="connsiteY53" fmla="*/ 1643531 h 4264910"/>
              <a:gd name="connsiteX54" fmla="*/ 5566997 w 5889610"/>
              <a:gd name="connsiteY54" fmla="*/ 1603127 h 4264910"/>
              <a:gd name="connsiteX55" fmla="*/ 5546075 w 5889610"/>
              <a:gd name="connsiteY55" fmla="*/ 1563082 h 4264910"/>
              <a:gd name="connsiteX56" fmla="*/ 5524560 w 5889610"/>
              <a:gd name="connsiteY56" fmla="*/ 1523400 h 4264910"/>
              <a:gd name="connsiteX57" fmla="*/ 5502458 w 5889610"/>
              <a:gd name="connsiteY57" fmla="*/ 1484088 h 4264910"/>
              <a:gd name="connsiteX58" fmla="*/ 5479775 w 5889610"/>
              <a:gd name="connsiteY58" fmla="*/ 1445152 h 4264910"/>
              <a:gd name="connsiteX59" fmla="*/ 5456516 w 5889610"/>
              <a:gd name="connsiteY59" fmla="*/ 1406597 h 4264910"/>
              <a:gd name="connsiteX60" fmla="*/ 5432688 w 5889610"/>
              <a:gd name="connsiteY60" fmla="*/ 1368430 h 4264910"/>
              <a:gd name="connsiteX61" fmla="*/ 5408296 w 5889610"/>
              <a:gd name="connsiteY61" fmla="*/ 1330656 h 4264910"/>
              <a:gd name="connsiteX62" fmla="*/ 5383346 w 5889610"/>
              <a:gd name="connsiteY62" fmla="*/ 1293282 h 4264910"/>
              <a:gd name="connsiteX63" fmla="*/ 5357845 w 5889610"/>
              <a:gd name="connsiteY63" fmla="*/ 1256313 h 4264910"/>
              <a:gd name="connsiteX64" fmla="*/ 5331797 w 5889610"/>
              <a:gd name="connsiteY64" fmla="*/ 1219754 h 4264910"/>
              <a:gd name="connsiteX65" fmla="*/ 5305210 w 5889610"/>
              <a:gd name="connsiteY65" fmla="*/ 1183613 h 4264910"/>
              <a:gd name="connsiteX66" fmla="*/ 5278088 w 5889610"/>
              <a:gd name="connsiteY66" fmla="*/ 1147894 h 4264910"/>
              <a:gd name="connsiteX67" fmla="*/ 5250438 w 5889610"/>
              <a:gd name="connsiteY67" fmla="*/ 1112604 h 4264910"/>
              <a:gd name="connsiteX68" fmla="*/ 5222266 w 5889610"/>
              <a:gd name="connsiteY68" fmla="*/ 1077748 h 4264910"/>
              <a:gd name="connsiteX69" fmla="*/ 5193577 w 5889610"/>
              <a:gd name="connsiteY69" fmla="*/ 1043332 h 4264910"/>
              <a:gd name="connsiteX70" fmla="*/ 5164378 w 5889610"/>
              <a:gd name="connsiteY70" fmla="*/ 1009363 h 4264910"/>
              <a:gd name="connsiteX71" fmla="*/ 5134674 w 5889610"/>
              <a:gd name="connsiteY71" fmla="*/ 975846 h 4264910"/>
              <a:gd name="connsiteX72" fmla="*/ 5104471 w 5889610"/>
              <a:gd name="connsiteY72" fmla="*/ 942787 h 4264910"/>
              <a:gd name="connsiteX73" fmla="*/ 5073776 w 5889610"/>
              <a:gd name="connsiteY73" fmla="*/ 910192 h 4264910"/>
              <a:gd name="connsiteX74" fmla="*/ 5042593 w 5889610"/>
              <a:gd name="connsiteY74" fmla="*/ 878066 h 4264910"/>
              <a:gd name="connsiteX75" fmla="*/ 5010930 w 5889610"/>
              <a:gd name="connsiteY75" fmla="*/ 846416 h 4264910"/>
              <a:gd name="connsiteX76" fmla="*/ 4978791 w 5889610"/>
              <a:gd name="connsiteY76" fmla="*/ 815247 h 4264910"/>
              <a:gd name="connsiteX77" fmla="*/ 4946183 w 5889610"/>
              <a:gd name="connsiteY77" fmla="*/ 784566 h 4264910"/>
              <a:gd name="connsiteX78" fmla="*/ 4913111 w 5889610"/>
              <a:gd name="connsiteY78" fmla="*/ 754377 h 4264910"/>
              <a:gd name="connsiteX79" fmla="*/ 4879582 w 5889610"/>
              <a:gd name="connsiteY79" fmla="*/ 724688 h 4264910"/>
              <a:gd name="connsiteX80" fmla="*/ 4845602 w 5889610"/>
              <a:gd name="connsiteY80" fmla="*/ 695504 h 4264910"/>
              <a:gd name="connsiteX81" fmla="*/ 4811176 w 5889610"/>
              <a:gd name="connsiteY81" fmla="*/ 666831 h 4264910"/>
              <a:gd name="connsiteX82" fmla="*/ 4776309 w 5889610"/>
              <a:gd name="connsiteY82" fmla="*/ 638674 h 4264910"/>
              <a:gd name="connsiteX83" fmla="*/ 4741009 w 5889610"/>
              <a:gd name="connsiteY83" fmla="*/ 611040 h 4264910"/>
              <a:gd name="connsiteX84" fmla="*/ 4705281 w 5889610"/>
              <a:gd name="connsiteY84" fmla="*/ 583934 h 4264910"/>
              <a:gd name="connsiteX85" fmla="*/ 4669131 w 5889610"/>
              <a:gd name="connsiteY85" fmla="*/ 557362 h 4264910"/>
              <a:gd name="connsiteX86" fmla="*/ 4632565 w 5889610"/>
              <a:gd name="connsiteY86" fmla="*/ 531331 h 4264910"/>
              <a:gd name="connsiteX87" fmla="*/ 4595588 w 5889610"/>
              <a:gd name="connsiteY87" fmla="*/ 505845 h 4264910"/>
              <a:gd name="connsiteX88" fmla="*/ 4558207 w 5889610"/>
              <a:gd name="connsiteY88" fmla="*/ 480912 h 4264910"/>
              <a:gd name="connsiteX89" fmla="*/ 4520427 w 5889610"/>
              <a:gd name="connsiteY89" fmla="*/ 456536 h 4264910"/>
              <a:gd name="connsiteX90" fmla="*/ 4482255 w 5889610"/>
              <a:gd name="connsiteY90" fmla="*/ 432724 h 4264910"/>
              <a:gd name="connsiteX91" fmla="*/ 4443696 w 5889610"/>
              <a:gd name="connsiteY91" fmla="*/ 409481 h 4264910"/>
              <a:gd name="connsiteX92" fmla="*/ 4404756 w 5889610"/>
              <a:gd name="connsiteY92" fmla="*/ 386814 h 4264910"/>
              <a:gd name="connsiteX93" fmla="*/ 4365441 w 5889610"/>
              <a:gd name="connsiteY93" fmla="*/ 364727 h 4264910"/>
              <a:gd name="connsiteX94" fmla="*/ 4325757 w 5889610"/>
              <a:gd name="connsiteY94" fmla="*/ 343228 h 4264910"/>
              <a:gd name="connsiteX95" fmla="*/ 4285710 w 5889610"/>
              <a:gd name="connsiteY95" fmla="*/ 322322 h 4264910"/>
              <a:gd name="connsiteX96" fmla="*/ 4245306 w 5889610"/>
              <a:gd name="connsiteY96" fmla="*/ 302015 h 4264910"/>
              <a:gd name="connsiteX97" fmla="*/ 4204550 w 5889610"/>
              <a:gd name="connsiteY97" fmla="*/ 282313 h 4264910"/>
              <a:gd name="connsiteX98" fmla="*/ 4163449 w 5889610"/>
              <a:gd name="connsiteY98" fmla="*/ 263221 h 4264910"/>
              <a:gd name="connsiteX99" fmla="*/ 4122008 w 5889610"/>
              <a:gd name="connsiteY99" fmla="*/ 244746 h 4264910"/>
              <a:gd name="connsiteX100" fmla="*/ 4080233 w 5889610"/>
              <a:gd name="connsiteY100" fmla="*/ 226893 h 4264910"/>
              <a:gd name="connsiteX101" fmla="*/ 4038131 w 5889610"/>
              <a:gd name="connsiteY101" fmla="*/ 209668 h 4264910"/>
              <a:gd name="connsiteX102" fmla="*/ 3995707 w 5889610"/>
              <a:gd name="connsiteY102" fmla="*/ 193077 h 4264910"/>
              <a:gd name="connsiteX103" fmla="*/ 3952967 w 5889610"/>
              <a:gd name="connsiteY103" fmla="*/ 177126 h 4264910"/>
              <a:gd name="connsiteX104" fmla="*/ 3909916 w 5889610"/>
              <a:gd name="connsiteY104" fmla="*/ 161821 h 4264910"/>
              <a:gd name="connsiteX105" fmla="*/ 3866562 w 5889610"/>
              <a:gd name="connsiteY105" fmla="*/ 147168 h 4264910"/>
              <a:gd name="connsiteX106" fmla="*/ 3822909 w 5889610"/>
              <a:gd name="connsiteY106" fmla="*/ 133172 h 4264910"/>
              <a:gd name="connsiteX107" fmla="*/ 3778964 w 5889610"/>
              <a:gd name="connsiteY107" fmla="*/ 119840 h 4264910"/>
              <a:gd name="connsiteX108" fmla="*/ 3734732 w 5889610"/>
              <a:gd name="connsiteY108" fmla="*/ 107177 h 4264910"/>
              <a:gd name="connsiteX109" fmla="*/ 3690220 w 5889610"/>
              <a:gd name="connsiteY109" fmla="*/ 95189 h 4264910"/>
              <a:gd name="connsiteX110" fmla="*/ 3645433 w 5889610"/>
              <a:gd name="connsiteY110" fmla="*/ 83883 h 4264910"/>
              <a:gd name="connsiteX111" fmla="*/ 3600377 w 5889610"/>
              <a:gd name="connsiteY111" fmla="*/ 73263 h 4264910"/>
              <a:gd name="connsiteX112" fmla="*/ 3555058 w 5889610"/>
              <a:gd name="connsiteY112" fmla="*/ 63336 h 4264910"/>
              <a:gd name="connsiteX113" fmla="*/ 3509482 w 5889610"/>
              <a:gd name="connsiteY113" fmla="*/ 54107 h 4264910"/>
              <a:gd name="connsiteX114" fmla="*/ 3463655 w 5889610"/>
              <a:gd name="connsiteY114" fmla="*/ 45584 h 4264910"/>
              <a:gd name="connsiteX115" fmla="*/ 3417583 w 5889610"/>
              <a:gd name="connsiteY115" fmla="*/ 37770 h 4264910"/>
              <a:gd name="connsiteX116" fmla="*/ 3371271 w 5889610"/>
              <a:gd name="connsiteY116" fmla="*/ 30673 h 4264910"/>
              <a:gd name="connsiteX117" fmla="*/ 3324726 w 5889610"/>
              <a:gd name="connsiteY117" fmla="*/ 24298 h 4264910"/>
              <a:gd name="connsiteX118" fmla="*/ 3277953 w 5889610"/>
              <a:gd name="connsiteY118" fmla="*/ 18651 h 4264910"/>
              <a:gd name="connsiteX119" fmla="*/ 3230959 w 5889610"/>
              <a:gd name="connsiteY119" fmla="*/ 13738 h 4264910"/>
              <a:gd name="connsiteX120" fmla="*/ 3183749 w 5889610"/>
              <a:gd name="connsiteY120" fmla="*/ 9564 h 4264910"/>
              <a:gd name="connsiteX121" fmla="*/ 3136329 w 5889610"/>
              <a:gd name="connsiteY121" fmla="*/ 6137 h 4264910"/>
              <a:gd name="connsiteX122" fmla="*/ 3088705 w 5889610"/>
              <a:gd name="connsiteY122" fmla="*/ 3461 h 4264910"/>
              <a:gd name="connsiteX123" fmla="*/ 3040883 w 5889610"/>
              <a:gd name="connsiteY123" fmla="*/ 1542 h 4264910"/>
              <a:gd name="connsiteX124" fmla="*/ 2992869 w 5889610"/>
              <a:gd name="connsiteY124" fmla="*/ 386 h 4264910"/>
              <a:gd name="connsiteX125" fmla="*/ 2944668 w 5889610"/>
              <a:gd name="connsiteY125" fmla="*/ 0 h 4264910"/>
              <a:gd name="connsiteX126" fmla="*/ 2896458 w 5889610"/>
              <a:gd name="connsiteY126" fmla="*/ 386 h 4264910"/>
              <a:gd name="connsiteX127" fmla="*/ 2848435 w 5889610"/>
              <a:gd name="connsiteY127" fmla="*/ 1542 h 4264910"/>
              <a:gd name="connsiteX128" fmla="*/ 2800604 w 5889610"/>
              <a:gd name="connsiteY128" fmla="*/ 3461 h 4264910"/>
              <a:gd name="connsiteX129" fmla="*/ 2752972 w 5889610"/>
              <a:gd name="connsiteY129" fmla="*/ 6137 h 4264910"/>
              <a:gd name="connsiteX130" fmla="*/ 2705544 w 5889610"/>
              <a:gd name="connsiteY130" fmla="*/ 9564 h 4264910"/>
              <a:gd name="connsiteX131" fmla="*/ 2658327 w 5889610"/>
              <a:gd name="connsiteY131" fmla="*/ 13738 h 4264910"/>
              <a:gd name="connsiteX132" fmla="*/ 2611326 w 5889610"/>
              <a:gd name="connsiteY132" fmla="*/ 18651 h 4264910"/>
              <a:gd name="connsiteX133" fmla="*/ 2564548 w 5889610"/>
              <a:gd name="connsiteY133" fmla="*/ 24298 h 4264910"/>
              <a:gd name="connsiteX134" fmla="*/ 2517997 w 5889610"/>
              <a:gd name="connsiteY134" fmla="*/ 30673 h 4264910"/>
              <a:gd name="connsiteX135" fmla="*/ 2471680 w 5889610"/>
              <a:gd name="connsiteY135" fmla="*/ 37770 h 4264910"/>
              <a:gd name="connsiteX136" fmla="*/ 2425603 w 5889610"/>
              <a:gd name="connsiteY136" fmla="*/ 45584 h 4264910"/>
              <a:gd name="connsiteX137" fmla="*/ 2379772 w 5889610"/>
              <a:gd name="connsiteY137" fmla="*/ 54107 h 4264910"/>
              <a:gd name="connsiteX138" fmla="*/ 2334192 w 5889610"/>
              <a:gd name="connsiteY138" fmla="*/ 63336 h 4264910"/>
              <a:gd name="connsiteX139" fmla="*/ 2288870 w 5889610"/>
              <a:gd name="connsiteY139" fmla="*/ 73263 h 4264910"/>
              <a:gd name="connsiteX140" fmla="*/ 2243811 w 5889610"/>
              <a:gd name="connsiteY140" fmla="*/ 83883 h 4264910"/>
              <a:gd name="connsiteX141" fmla="*/ 2199022 w 5889610"/>
              <a:gd name="connsiteY141" fmla="*/ 95189 h 4264910"/>
              <a:gd name="connsiteX142" fmla="*/ 2154507 w 5889610"/>
              <a:gd name="connsiteY142" fmla="*/ 107177 h 4264910"/>
              <a:gd name="connsiteX143" fmla="*/ 2110274 w 5889610"/>
              <a:gd name="connsiteY143" fmla="*/ 119840 h 4264910"/>
              <a:gd name="connsiteX144" fmla="*/ 2066327 w 5889610"/>
              <a:gd name="connsiteY144" fmla="*/ 133172 h 4264910"/>
              <a:gd name="connsiteX145" fmla="*/ 2022674 w 5889610"/>
              <a:gd name="connsiteY145" fmla="*/ 147168 h 4264910"/>
              <a:gd name="connsiteX146" fmla="*/ 1979319 w 5889610"/>
              <a:gd name="connsiteY146" fmla="*/ 161821 h 4264910"/>
              <a:gd name="connsiteX147" fmla="*/ 1936268 w 5889610"/>
              <a:gd name="connsiteY147" fmla="*/ 177126 h 4264910"/>
              <a:gd name="connsiteX148" fmla="*/ 1893528 w 5889610"/>
              <a:gd name="connsiteY148" fmla="*/ 193077 h 4264910"/>
              <a:gd name="connsiteX149" fmla="*/ 1851105 w 5889610"/>
              <a:gd name="connsiteY149" fmla="*/ 209668 h 4264910"/>
              <a:gd name="connsiteX150" fmla="*/ 1809003 w 5889610"/>
              <a:gd name="connsiteY150" fmla="*/ 226893 h 4264910"/>
              <a:gd name="connsiteX151" fmla="*/ 1767230 w 5889610"/>
              <a:gd name="connsiteY151" fmla="*/ 244746 h 4264910"/>
              <a:gd name="connsiteX152" fmla="*/ 1725791 w 5889610"/>
              <a:gd name="connsiteY152" fmla="*/ 263221 h 4264910"/>
              <a:gd name="connsiteX153" fmla="*/ 1684691 w 5889610"/>
              <a:gd name="connsiteY153" fmla="*/ 282313 h 4264910"/>
              <a:gd name="connsiteX154" fmla="*/ 1643938 w 5889610"/>
              <a:gd name="connsiteY154" fmla="*/ 302015 h 4264910"/>
              <a:gd name="connsiteX155" fmla="*/ 1603536 w 5889610"/>
              <a:gd name="connsiteY155" fmla="*/ 322322 h 4264910"/>
              <a:gd name="connsiteX156" fmla="*/ 1563492 w 5889610"/>
              <a:gd name="connsiteY156" fmla="*/ 343228 h 4264910"/>
              <a:gd name="connsiteX157" fmla="*/ 1523811 w 5889610"/>
              <a:gd name="connsiteY157" fmla="*/ 364727 h 4264910"/>
              <a:gd name="connsiteX158" fmla="*/ 1484499 w 5889610"/>
              <a:gd name="connsiteY158" fmla="*/ 386814 h 4264910"/>
              <a:gd name="connsiteX159" fmla="*/ 1445563 w 5889610"/>
              <a:gd name="connsiteY159" fmla="*/ 409481 h 4264910"/>
              <a:gd name="connsiteX160" fmla="*/ 1407007 w 5889610"/>
              <a:gd name="connsiteY160" fmla="*/ 432724 h 4264910"/>
              <a:gd name="connsiteX161" fmla="*/ 1368839 w 5889610"/>
              <a:gd name="connsiteY161" fmla="*/ 456536 h 4264910"/>
              <a:gd name="connsiteX162" fmla="*/ 1331064 w 5889610"/>
              <a:gd name="connsiteY162" fmla="*/ 480912 h 4264910"/>
              <a:gd name="connsiteX163" fmla="*/ 1293687 w 5889610"/>
              <a:gd name="connsiteY163" fmla="*/ 505845 h 4264910"/>
              <a:gd name="connsiteX164" fmla="*/ 1256715 w 5889610"/>
              <a:gd name="connsiteY164" fmla="*/ 531331 h 4264910"/>
              <a:gd name="connsiteX165" fmla="*/ 1220154 w 5889610"/>
              <a:gd name="connsiteY165" fmla="*/ 557362 h 4264910"/>
              <a:gd name="connsiteX166" fmla="*/ 1184009 w 5889610"/>
              <a:gd name="connsiteY166" fmla="*/ 583934 h 4264910"/>
              <a:gd name="connsiteX167" fmla="*/ 1148286 w 5889610"/>
              <a:gd name="connsiteY167" fmla="*/ 611040 h 4264910"/>
              <a:gd name="connsiteX168" fmla="*/ 1112991 w 5889610"/>
              <a:gd name="connsiteY168" fmla="*/ 638674 h 4264910"/>
              <a:gd name="connsiteX169" fmla="*/ 1078131 w 5889610"/>
              <a:gd name="connsiteY169" fmla="*/ 666831 h 4264910"/>
              <a:gd name="connsiteX170" fmla="*/ 1043710 w 5889610"/>
              <a:gd name="connsiteY170" fmla="*/ 695504 h 4264910"/>
              <a:gd name="connsiteX171" fmla="*/ 1009736 w 5889610"/>
              <a:gd name="connsiteY171" fmla="*/ 724688 h 4264910"/>
              <a:gd name="connsiteX172" fmla="*/ 976213 w 5889610"/>
              <a:gd name="connsiteY172" fmla="*/ 754377 h 4264910"/>
              <a:gd name="connsiteX173" fmla="*/ 943148 w 5889610"/>
              <a:gd name="connsiteY173" fmla="*/ 784566 h 4264910"/>
              <a:gd name="connsiteX174" fmla="*/ 910546 w 5889610"/>
              <a:gd name="connsiteY174" fmla="*/ 815247 h 4264910"/>
              <a:gd name="connsiteX175" fmla="*/ 878413 w 5889610"/>
              <a:gd name="connsiteY175" fmla="*/ 846416 h 4264910"/>
              <a:gd name="connsiteX176" fmla="*/ 846756 w 5889610"/>
              <a:gd name="connsiteY176" fmla="*/ 878066 h 4264910"/>
              <a:gd name="connsiteX177" fmla="*/ 815581 w 5889610"/>
              <a:gd name="connsiteY177" fmla="*/ 910192 h 4264910"/>
              <a:gd name="connsiteX178" fmla="*/ 784892 w 5889610"/>
              <a:gd name="connsiteY178" fmla="*/ 942787 h 4264910"/>
              <a:gd name="connsiteX179" fmla="*/ 754696 w 5889610"/>
              <a:gd name="connsiteY179" fmla="*/ 975846 h 4264910"/>
              <a:gd name="connsiteX180" fmla="*/ 724999 w 5889610"/>
              <a:gd name="connsiteY180" fmla="*/ 1009363 h 4264910"/>
              <a:gd name="connsiteX181" fmla="*/ 695807 w 5889610"/>
              <a:gd name="connsiteY181" fmla="*/ 1043332 h 4264910"/>
              <a:gd name="connsiteX182" fmla="*/ 667125 w 5889610"/>
              <a:gd name="connsiteY182" fmla="*/ 1077748 h 4264910"/>
              <a:gd name="connsiteX183" fmla="*/ 638960 w 5889610"/>
              <a:gd name="connsiteY183" fmla="*/ 1112604 h 4264910"/>
              <a:gd name="connsiteX184" fmla="*/ 611317 w 5889610"/>
              <a:gd name="connsiteY184" fmla="*/ 1147894 h 4264910"/>
              <a:gd name="connsiteX185" fmla="*/ 584202 w 5889610"/>
              <a:gd name="connsiteY185" fmla="*/ 1183613 h 4264910"/>
              <a:gd name="connsiteX186" fmla="*/ 557622 w 5889610"/>
              <a:gd name="connsiteY186" fmla="*/ 1219754 h 4264910"/>
              <a:gd name="connsiteX187" fmla="*/ 531582 w 5889610"/>
              <a:gd name="connsiteY187" fmla="*/ 1256313 h 4264910"/>
              <a:gd name="connsiteX188" fmla="*/ 506087 w 5889610"/>
              <a:gd name="connsiteY188" fmla="*/ 1293282 h 4264910"/>
              <a:gd name="connsiteX189" fmla="*/ 481145 w 5889610"/>
              <a:gd name="connsiteY189" fmla="*/ 1330656 h 4264910"/>
              <a:gd name="connsiteX190" fmla="*/ 456760 w 5889610"/>
              <a:gd name="connsiteY190" fmla="*/ 1368430 h 4264910"/>
              <a:gd name="connsiteX191" fmla="*/ 432939 w 5889610"/>
              <a:gd name="connsiteY191" fmla="*/ 1406597 h 4264910"/>
              <a:gd name="connsiteX192" fmla="*/ 409687 w 5889610"/>
              <a:gd name="connsiteY192" fmla="*/ 1445152 h 4264910"/>
              <a:gd name="connsiteX193" fmla="*/ 387011 w 5889610"/>
              <a:gd name="connsiteY193" fmla="*/ 1484088 h 4264910"/>
              <a:gd name="connsiteX194" fmla="*/ 364915 w 5889610"/>
              <a:gd name="connsiteY194" fmla="*/ 1523400 h 4264910"/>
              <a:gd name="connsiteX195" fmla="*/ 343407 w 5889610"/>
              <a:gd name="connsiteY195" fmla="*/ 1563082 h 4264910"/>
              <a:gd name="connsiteX196" fmla="*/ 322492 w 5889610"/>
              <a:gd name="connsiteY196" fmla="*/ 1603127 h 4264910"/>
              <a:gd name="connsiteX197" fmla="*/ 302176 w 5889610"/>
              <a:gd name="connsiteY197" fmla="*/ 1643531 h 4264910"/>
              <a:gd name="connsiteX198" fmla="*/ 282465 w 5889610"/>
              <a:gd name="connsiteY198" fmla="*/ 1684288 h 4264910"/>
              <a:gd name="connsiteX199" fmla="*/ 263365 w 5889610"/>
              <a:gd name="connsiteY199" fmla="*/ 1725390 h 4264910"/>
              <a:gd name="connsiteX200" fmla="*/ 244881 w 5889610"/>
              <a:gd name="connsiteY200" fmla="*/ 1766833 h 4264910"/>
              <a:gd name="connsiteX201" fmla="*/ 227019 w 5889610"/>
              <a:gd name="connsiteY201" fmla="*/ 1808611 h 4264910"/>
              <a:gd name="connsiteX202" fmla="*/ 209786 w 5889610"/>
              <a:gd name="connsiteY202" fmla="*/ 1850718 h 4264910"/>
              <a:gd name="connsiteX203" fmla="*/ 193187 w 5889610"/>
              <a:gd name="connsiteY203" fmla="*/ 1893147 h 4264910"/>
              <a:gd name="connsiteX204" fmla="*/ 177228 w 5889610"/>
              <a:gd name="connsiteY204" fmla="*/ 1935894 h 4264910"/>
              <a:gd name="connsiteX205" fmla="*/ 161915 w 5889610"/>
              <a:gd name="connsiteY205" fmla="*/ 1978952 h 4264910"/>
              <a:gd name="connsiteX206" fmla="*/ 147254 w 5889610"/>
              <a:gd name="connsiteY206" fmla="*/ 2022315 h 4264910"/>
              <a:gd name="connsiteX207" fmla="*/ 133251 w 5889610"/>
              <a:gd name="connsiteY207" fmla="*/ 2065977 h 4264910"/>
              <a:gd name="connsiteX208" fmla="*/ 119912 w 5889610"/>
              <a:gd name="connsiteY208" fmla="*/ 2109933 h 4264910"/>
              <a:gd name="connsiteX209" fmla="*/ 107242 w 5889610"/>
              <a:gd name="connsiteY209" fmla="*/ 2154177 h 4264910"/>
              <a:gd name="connsiteX210" fmla="*/ 95247 w 5889610"/>
              <a:gd name="connsiteY210" fmla="*/ 2198702 h 4264910"/>
              <a:gd name="connsiteX211" fmla="*/ 83934 w 5889610"/>
              <a:gd name="connsiteY211" fmla="*/ 2243504 h 4264910"/>
              <a:gd name="connsiteX212" fmla="*/ 73308 w 5889610"/>
              <a:gd name="connsiteY212" fmla="*/ 2288575 h 4264910"/>
              <a:gd name="connsiteX213" fmla="*/ 63375 w 5889610"/>
              <a:gd name="connsiteY213" fmla="*/ 2333911 h 4264910"/>
              <a:gd name="connsiteX214" fmla="*/ 54141 w 5889610"/>
              <a:gd name="connsiteY214" fmla="*/ 2379505 h 4264910"/>
              <a:gd name="connsiteX215" fmla="*/ 45613 w 5889610"/>
              <a:gd name="connsiteY215" fmla="*/ 2425352 h 4264910"/>
              <a:gd name="connsiteX216" fmla="*/ 37794 w 5889610"/>
              <a:gd name="connsiteY216" fmla="*/ 2471445 h 4264910"/>
              <a:gd name="connsiteX217" fmla="*/ 30693 w 5889610"/>
              <a:gd name="connsiteY217" fmla="*/ 2517779 h 4264910"/>
              <a:gd name="connsiteX218" fmla="*/ 24314 w 5889610"/>
              <a:gd name="connsiteY218" fmla="*/ 2564347 h 4264910"/>
              <a:gd name="connsiteX219" fmla="*/ 18663 w 5889610"/>
              <a:gd name="connsiteY219" fmla="*/ 2611145 h 4264910"/>
              <a:gd name="connsiteX220" fmla="*/ 13747 w 5889610"/>
              <a:gd name="connsiteY220" fmla="*/ 2658166 h 4264910"/>
              <a:gd name="connsiteX221" fmla="*/ 9571 w 5889610"/>
              <a:gd name="connsiteY221" fmla="*/ 2705404 h 4264910"/>
              <a:gd name="connsiteX222" fmla="*/ 6141 w 5889610"/>
              <a:gd name="connsiteY222" fmla="*/ 2752853 h 4264910"/>
              <a:gd name="connsiteX223" fmla="*/ 3463 w 5889610"/>
              <a:gd name="connsiteY223" fmla="*/ 2800508 h 4264910"/>
              <a:gd name="connsiteX224" fmla="*/ 1543 w 5889610"/>
              <a:gd name="connsiteY224" fmla="*/ 2848362 h 4264910"/>
              <a:gd name="connsiteX225" fmla="*/ 386 w 5889610"/>
              <a:gd name="connsiteY225" fmla="*/ 2896411 h 4264910"/>
              <a:gd name="connsiteX226" fmla="*/ 0 w 5889610"/>
              <a:gd name="connsiteY226"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644634 w 5889610"/>
              <a:gd name="connsiteY0" fmla="*/ 4122645 h 4264910"/>
              <a:gd name="connsiteX1" fmla="*/ 5679741 w 5889610"/>
              <a:gd name="connsiteY1" fmla="*/ 4038750 h 4264910"/>
              <a:gd name="connsiteX2" fmla="*/ 5696346 w 5889610"/>
              <a:gd name="connsiteY2" fmla="*/ 3996315 h 4264910"/>
              <a:gd name="connsiteX3" fmla="*/ 5712311 w 5889610"/>
              <a:gd name="connsiteY3" fmla="*/ 3953563 h 4264910"/>
              <a:gd name="connsiteX4" fmla="*/ 5727629 w 5889610"/>
              <a:gd name="connsiteY4" fmla="*/ 3910499 h 4264910"/>
              <a:gd name="connsiteX5" fmla="*/ 5742296 w 5889610"/>
              <a:gd name="connsiteY5" fmla="*/ 3867130 h 4264910"/>
              <a:gd name="connsiteX6" fmla="*/ 5756304 w 5889610"/>
              <a:gd name="connsiteY6" fmla="*/ 3823462 h 4264910"/>
              <a:gd name="connsiteX7" fmla="*/ 5769649 w 5889610"/>
              <a:gd name="connsiteY7" fmla="*/ 3779500 h 4264910"/>
              <a:gd name="connsiteX8" fmla="*/ 5782324 w 5889610"/>
              <a:gd name="connsiteY8" fmla="*/ 3735250 h 4264910"/>
              <a:gd name="connsiteX9" fmla="*/ 5794323 w 5889610"/>
              <a:gd name="connsiteY9" fmla="*/ 3690717 h 4264910"/>
              <a:gd name="connsiteX10" fmla="*/ 5826208 w 5889610"/>
              <a:gd name="connsiteY10" fmla="*/ 3555488 h 4264910"/>
              <a:gd name="connsiteX11" fmla="*/ 5835445 w 5889610"/>
              <a:gd name="connsiteY11" fmla="*/ 3509887 h 4264910"/>
              <a:gd name="connsiteX12" fmla="*/ 5843978 w 5889610"/>
              <a:gd name="connsiteY12" fmla="*/ 3464033 h 4264910"/>
              <a:gd name="connsiteX13" fmla="*/ 5851799 w 5889610"/>
              <a:gd name="connsiteY13" fmla="*/ 3417933 h 4264910"/>
              <a:gd name="connsiteX14" fmla="*/ 5858904 w 5889610"/>
              <a:gd name="connsiteY14" fmla="*/ 3371591 h 4264910"/>
              <a:gd name="connsiteX15" fmla="*/ 5865285 w 5889610"/>
              <a:gd name="connsiteY15" fmla="*/ 3325015 h 4264910"/>
              <a:gd name="connsiteX16" fmla="*/ 5870938 w 5889610"/>
              <a:gd name="connsiteY16" fmla="*/ 3278209 h 4264910"/>
              <a:gd name="connsiteX17" fmla="*/ 5875857 w 5889610"/>
              <a:gd name="connsiteY17" fmla="*/ 3231180 h 4264910"/>
              <a:gd name="connsiteX18" fmla="*/ 5880035 w 5889610"/>
              <a:gd name="connsiteY18" fmla="*/ 3183934 h 4264910"/>
              <a:gd name="connsiteX19" fmla="*/ 5883466 w 5889610"/>
              <a:gd name="connsiteY19" fmla="*/ 3136476 h 4264910"/>
              <a:gd name="connsiteX20" fmla="*/ 5886146 w 5889610"/>
              <a:gd name="connsiteY20" fmla="*/ 3088813 h 4264910"/>
              <a:gd name="connsiteX21" fmla="*/ 5888067 w 5889610"/>
              <a:gd name="connsiteY21" fmla="*/ 3040949 h 4264910"/>
              <a:gd name="connsiteX22" fmla="*/ 5889223 w 5889610"/>
              <a:gd name="connsiteY22" fmla="*/ 2992892 h 4264910"/>
              <a:gd name="connsiteX23" fmla="*/ 5889610 w 5889610"/>
              <a:gd name="connsiteY23" fmla="*/ 2944647 h 4264910"/>
              <a:gd name="connsiteX24" fmla="*/ 5889223 w 5889610"/>
              <a:gd name="connsiteY24" fmla="*/ 2896411 h 4264910"/>
              <a:gd name="connsiteX25" fmla="*/ 5888067 w 5889610"/>
              <a:gd name="connsiteY25" fmla="*/ 2848362 h 4264910"/>
              <a:gd name="connsiteX26" fmla="*/ 5886146 w 5889610"/>
              <a:gd name="connsiteY26" fmla="*/ 2800508 h 4264910"/>
              <a:gd name="connsiteX27" fmla="*/ 5883466 w 5889610"/>
              <a:gd name="connsiteY27" fmla="*/ 2752853 h 4264910"/>
              <a:gd name="connsiteX28" fmla="*/ 5880035 w 5889610"/>
              <a:gd name="connsiteY28" fmla="*/ 2705404 h 4264910"/>
              <a:gd name="connsiteX29" fmla="*/ 5875857 w 5889610"/>
              <a:gd name="connsiteY29" fmla="*/ 2658166 h 4264910"/>
              <a:gd name="connsiteX30" fmla="*/ 5870938 w 5889610"/>
              <a:gd name="connsiteY30" fmla="*/ 2611145 h 4264910"/>
              <a:gd name="connsiteX31" fmla="*/ 5865285 w 5889610"/>
              <a:gd name="connsiteY31" fmla="*/ 2564347 h 4264910"/>
              <a:gd name="connsiteX32" fmla="*/ 5858904 w 5889610"/>
              <a:gd name="connsiteY32" fmla="*/ 2517779 h 4264910"/>
              <a:gd name="connsiteX33" fmla="*/ 5851799 w 5889610"/>
              <a:gd name="connsiteY33" fmla="*/ 2471445 h 4264910"/>
              <a:gd name="connsiteX34" fmla="*/ 5843978 w 5889610"/>
              <a:gd name="connsiteY34" fmla="*/ 2425352 h 4264910"/>
              <a:gd name="connsiteX35" fmla="*/ 5835445 w 5889610"/>
              <a:gd name="connsiteY35" fmla="*/ 2379505 h 4264910"/>
              <a:gd name="connsiteX36" fmla="*/ 5826208 w 5889610"/>
              <a:gd name="connsiteY36" fmla="*/ 2333911 h 4264910"/>
              <a:gd name="connsiteX37" fmla="*/ 5816271 w 5889610"/>
              <a:gd name="connsiteY37" fmla="*/ 2288575 h 4264910"/>
              <a:gd name="connsiteX38" fmla="*/ 5805641 w 5889610"/>
              <a:gd name="connsiteY38" fmla="*/ 2243504 h 4264910"/>
              <a:gd name="connsiteX39" fmla="*/ 5794323 w 5889610"/>
              <a:gd name="connsiteY39" fmla="*/ 2198702 h 4264910"/>
              <a:gd name="connsiteX40" fmla="*/ 5782324 w 5889610"/>
              <a:gd name="connsiteY40" fmla="*/ 2154177 h 4264910"/>
              <a:gd name="connsiteX41" fmla="*/ 5769649 w 5889610"/>
              <a:gd name="connsiteY41" fmla="*/ 2109933 h 4264910"/>
              <a:gd name="connsiteX42" fmla="*/ 5756304 w 5889610"/>
              <a:gd name="connsiteY42" fmla="*/ 2065977 h 4264910"/>
              <a:gd name="connsiteX43" fmla="*/ 5742296 w 5889610"/>
              <a:gd name="connsiteY43" fmla="*/ 2022315 h 4264910"/>
              <a:gd name="connsiteX44" fmla="*/ 5727629 w 5889610"/>
              <a:gd name="connsiteY44" fmla="*/ 1978952 h 4264910"/>
              <a:gd name="connsiteX45" fmla="*/ 5712311 w 5889610"/>
              <a:gd name="connsiteY45" fmla="*/ 1935894 h 4264910"/>
              <a:gd name="connsiteX46" fmla="*/ 5696346 w 5889610"/>
              <a:gd name="connsiteY46" fmla="*/ 1893147 h 4264910"/>
              <a:gd name="connsiteX47" fmla="*/ 5679741 w 5889610"/>
              <a:gd name="connsiteY47" fmla="*/ 1850718 h 4264910"/>
              <a:gd name="connsiteX48" fmla="*/ 5662502 w 5889610"/>
              <a:gd name="connsiteY48" fmla="*/ 1808611 h 4264910"/>
              <a:gd name="connsiteX49" fmla="*/ 5644634 w 5889610"/>
              <a:gd name="connsiteY49" fmla="*/ 1766833 h 4264910"/>
              <a:gd name="connsiteX50" fmla="*/ 5626144 w 5889610"/>
              <a:gd name="connsiteY50" fmla="*/ 1725390 h 4264910"/>
              <a:gd name="connsiteX51" fmla="*/ 5607037 w 5889610"/>
              <a:gd name="connsiteY51" fmla="*/ 1684288 h 4264910"/>
              <a:gd name="connsiteX52" fmla="*/ 5587319 w 5889610"/>
              <a:gd name="connsiteY52" fmla="*/ 1643531 h 4264910"/>
              <a:gd name="connsiteX53" fmla="*/ 5566997 w 5889610"/>
              <a:gd name="connsiteY53" fmla="*/ 1603127 h 4264910"/>
              <a:gd name="connsiteX54" fmla="*/ 5546075 w 5889610"/>
              <a:gd name="connsiteY54" fmla="*/ 1563082 h 4264910"/>
              <a:gd name="connsiteX55" fmla="*/ 5524560 w 5889610"/>
              <a:gd name="connsiteY55" fmla="*/ 1523400 h 4264910"/>
              <a:gd name="connsiteX56" fmla="*/ 5502458 w 5889610"/>
              <a:gd name="connsiteY56" fmla="*/ 1484088 h 4264910"/>
              <a:gd name="connsiteX57" fmla="*/ 5479775 w 5889610"/>
              <a:gd name="connsiteY57" fmla="*/ 1445152 h 4264910"/>
              <a:gd name="connsiteX58" fmla="*/ 5456516 w 5889610"/>
              <a:gd name="connsiteY58" fmla="*/ 1406597 h 4264910"/>
              <a:gd name="connsiteX59" fmla="*/ 5432688 w 5889610"/>
              <a:gd name="connsiteY59" fmla="*/ 1368430 h 4264910"/>
              <a:gd name="connsiteX60" fmla="*/ 5408296 w 5889610"/>
              <a:gd name="connsiteY60" fmla="*/ 1330656 h 4264910"/>
              <a:gd name="connsiteX61" fmla="*/ 5383346 w 5889610"/>
              <a:gd name="connsiteY61" fmla="*/ 1293282 h 4264910"/>
              <a:gd name="connsiteX62" fmla="*/ 5357845 w 5889610"/>
              <a:gd name="connsiteY62" fmla="*/ 1256313 h 4264910"/>
              <a:gd name="connsiteX63" fmla="*/ 5331797 w 5889610"/>
              <a:gd name="connsiteY63" fmla="*/ 1219754 h 4264910"/>
              <a:gd name="connsiteX64" fmla="*/ 5305210 w 5889610"/>
              <a:gd name="connsiteY64" fmla="*/ 1183613 h 4264910"/>
              <a:gd name="connsiteX65" fmla="*/ 5278088 w 5889610"/>
              <a:gd name="connsiteY65" fmla="*/ 1147894 h 4264910"/>
              <a:gd name="connsiteX66" fmla="*/ 5250438 w 5889610"/>
              <a:gd name="connsiteY66" fmla="*/ 1112604 h 4264910"/>
              <a:gd name="connsiteX67" fmla="*/ 5222266 w 5889610"/>
              <a:gd name="connsiteY67" fmla="*/ 1077748 h 4264910"/>
              <a:gd name="connsiteX68" fmla="*/ 5193577 w 5889610"/>
              <a:gd name="connsiteY68" fmla="*/ 1043332 h 4264910"/>
              <a:gd name="connsiteX69" fmla="*/ 5164378 w 5889610"/>
              <a:gd name="connsiteY69" fmla="*/ 1009363 h 4264910"/>
              <a:gd name="connsiteX70" fmla="*/ 5134674 w 5889610"/>
              <a:gd name="connsiteY70" fmla="*/ 975846 h 4264910"/>
              <a:gd name="connsiteX71" fmla="*/ 5104471 w 5889610"/>
              <a:gd name="connsiteY71" fmla="*/ 942787 h 4264910"/>
              <a:gd name="connsiteX72" fmla="*/ 5073776 w 5889610"/>
              <a:gd name="connsiteY72" fmla="*/ 910192 h 4264910"/>
              <a:gd name="connsiteX73" fmla="*/ 5042593 w 5889610"/>
              <a:gd name="connsiteY73" fmla="*/ 878066 h 4264910"/>
              <a:gd name="connsiteX74" fmla="*/ 5010930 w 5889610"/>
              <a:gd name="connsiteY74" fmla="*/ 846416 h 4264910"/>
              <a:gd name="connsiteX75" fmla="*/ 4978791 w 5889610"/>
              <a:gd name="connsiteY75" fmla="*/ 815247 h 4264910"/>
              <a:gd name="connsiteX76" fmla="*/ 4946183 w 5889610"/>
              <a:gd name="connsiteY76" fmla="*/ 784566 h 4264910"/>
              <a:gd name="connsiteX77" fmla="*/ 4913111 w 5889610"/>
              <a:gd name="connsiteY77" fmla="*/ 754377 h 4264910"/>
              <a:gd name="connsiteX78" fmla="*/ 4879582 w 5889610"/>
              <a:gd name="connsiteY78" fmla="*/ 724688 h 4264910"/>
              <a:gd name="connsiteX79" fmla="*/ 4845602 w 5889610"/>
              <a:gd name="connsiteY79" fmla="*/ 695504 h 4264910"/>
              <a:gd name="connsiteX80" fmla="*/ 4811176 w 5889610"/>
              <a:gd name="connsiteY80" fmla="*/ 666831 h 4264910"/>
              <a:gd name="connsiteX81" fmla="*/ 4776309 w 5889610"/>
              <a:gd name="connsiteY81" fmla="*/ 638674 h 4264910"/>
              <a:gd name="connsiteX82" fmla="*/ 4741009 w 5889610"/>
              <a:gd name="connsiteY82" fmla="*/ 611040 h 4264910"/>
              <a:gd name="connsiteX83" fmla="*/ 4705281 w 5889610"/>
              <a:gd name="connsiteY83" fmla="*/ 583934 h 4264910"/>
              <a:gd name="connsiteX84" fmla="*/ 4669131 w 5889610"/>
              <a:gd name="connsiteY84" fmla="*/ 557362 h 4264910"/>
              <a:gd name="connsiteX85" fmla="*/ 4632565 w 5889610"/>
              <a:gd name="connsiteY85" fmla="*/ 531331 h 4264910"/>
              <a:gd name="connsiteX86" fmla="*/ 4595588 w 5889610"/>
              <a:gd name="connsiteY86" fmla="*/ 505845 h 4264910"/>
              <a:gd name="connsiteX87" fmla="*/ 4558207 w 5889610"/>
              <a:gd name="connsiteY87" fmla="*/ 480912 h 4264910"/>
              <a:gd name="connsiteX88" fmla="*/ 4520427 w 5889610"/>
              <a:gd name="connsiteY88" fmla="*/ 456536 h 4264910"/>
              <a:gd name="connsiteX89" fmla="*/ 4482255 w 5889610"/>
              <a:gd name="connsiteY89" fmla="*/ 432724 h 4264910"/>
              <a:gd name="connsiteX90" fmla="*/ 4443696 w 5889610"/>
              <a:gd name="connsiteY90" fmla="*/ 409481 h 4264910"/>
              <a:gd name="connsiteX91" fmla="*/ 4404756 w 5889610"/>
              <a:gd name="connsiteY91" fmla="*/ 386814 h 4264910"/>
              <a:gd name="connsiteX92" fmla="*/ 4365441 w 5889610"/>
              <a:gd name="connsiteY92" fmla="*/ 364727 h 4264910"/>
              <a:gd name="connsiteX93" fmla="*/ 4325757 w 5889610"/>
              <a:gd name="connsiteY93" fmla="*/ 343228 h 4264910"/>
              <a:gd name="connsiteX94" fmla="*/ 4285710 w 5889610"/>
              <a:gd name="connsiteY94" fmla="*/ 322322 h 4264910"/>
              <a:gd name="connsiteX95" fmla="*/ 4245306 w 5889610"/>
              <a:gd name="connsiteY95" fmla="*/ 302015 h 4264910"/>
              <a:gd name="connsiteX96" fmla="*/ 4204550 w 5889610"/>
              <a:gd name="connsiteY96" fmla="*/ 282313 h 4264910"/>
              <a:gd name="connsiteX97" fmla="*/ 4163449 w 5889610"/>
              <a:gd name="connsiteY97" fmla="*/ 263221 h 4264910"/>
              <a:gd name="connsiteX98" fmla="*/ 4122008 w 5889610"/>
              <a:gd name="connsiteY98" fmla="*/ 244746 h 4264910"/>
              <a:gd name="connsiteX99" fmla="*/ 4080233 w 5889610"/>
              <a:gd name="connsiteY99" fmla="*/ 226893 h 4264910"/>
              <a:gd name="connsiteX100" fmla="*/ 4038131 w 5889610"/>
              <a:gd name="connsiteY100" fmla="*/ 209668 h 4264910"/>
              <a:gd name="connsiteX101" fmla="*/ 3995707 w 5889610"/>
              <a:gd name="connsiteY101" fmla="*/ 193077 h 4264910"/>
              <a:gd name="connsiteX102" fmla="*/ 3952967 w 5889610"/>
              <a:gd name="connsiteY102" fmla="*/ 177126 h 4264910"/>
              <a:gd name="connsiteX103" fmla="*/ 3909916 w 5889610"/>
              <a:gd name="connsiteY103" fmla="*/ 161821 h 4264910"/>
              <a:gd name="connsiteX104" fmla="*/ 3866562 w 5889610"/>
              <a:gd name="connsiteY104" fmla="*/ 147168 h 4264910"/>
              <a:gd name="connsiteX105" fmla="*/ 3822909 w 5889610"/>
              <a:gd name="connsiteY105" fmla="*/ 133172 h 4264910"/>
              <a:gd name="connsiteX106" fmla="*/ 3778964 w 5889610"/>
              <a:gd name="connsiteY106" fmla="*/ 119840 h 4264910"/>
              <a:gd name="connsiteX107" fmla="*/ 3734732 w 5889610"/>
              <a:gd name="connsiteY107" fmla="*/ 107177 h 4264910"/>
              <a:gd name="connsiteX108" fmla="*/ 3690220 w 5889610"/>
              <a:gd name="connsiteY108" fmla="*/ 95189 h 4264910"/>
              <a:gd name="connsiteX109" fmla="*/ 3645433 w 5889610"/>
              <a:gd name="connsiteY109" fmla="*/ 83883 h 4264910"/>
              <a:gd name="connsiteX110" fmla="*/ 3600377 w 5889610"/>
              <a:gd name="connsiteY110" fmla="*/ 73263 h 4264910"/>
              <a:gd name="connsiteX111" fmla="*/ 3555058 w 5889610"/>
              <a:gd name="connsiteY111" fmla="*/ 63336 h 4264910"/>
              <a:gd name="connsiteX112" fmla="*/ 3509482 w 5889610"/>
              <a:gd name="connsiteY112" fmla="*/ 54107 h 4264910"/>
              <a:gd name="connsiteX113" fmla="*/ 3463655 w 5889610"/>
              <a:gd name="connsiteY113" fmla="*/ 45584 h 4264910"/>
              <a:gd name="connsiteX114" fmla="*/ 3417583 w 5889610"/>
              <a:gd name="connsiteY114" fmla="*/ 37770 h 4264910"/>
              <a:gd name="connsiteX115" fmla="*/ 3371271 w 5889610"/>
              <a:gd name="connsiteY115" fmla="*/ 30673 h 4264910"/>
              <a:gd name="connsiteX116" fmla="*/ 3324726 w 5889610"/>
              <a:gd name="connsiteY116" fmla="*/ 24298 h 4264910"/>
              <a:gd name="connsiteX117" fmla="*/ 3277953 w 5889610"/>
              <a:gd name="connsiteY117" fmla="*/ 18651 h 4264910"/>
              <a:gd name="connsiteX118" fmla="*/ 3230959 w 5889610"/>
              <a:gd name="connsiteY118" fmla="*/ 13738 h 4264910"/>
              <a:gd name="connsiteX119" fmla="*/ 3183749 w 5889610"/>
              <a:gd name="connsiteY119" fmla="*/ 9564 h 4264910"/>
              <a:gd name="connsiteX120" fmla="*/ 3136329 w 5889610"/>
              <a:gd name="connsiteY120" fmla="*/ 6137 h 4264910"/>
              <a:gd name="connsiteX121" fmla="*/ 3088705 w 5889610"/>
              <a:gd name="connsiteY121" fmla="*/ 3461 h 4264910"/>
              <a:gd name="connsiteX122" fmla="*/ 3040883 w 5889610"/>
              <a:gd name="connsiteY122" fmla="*/ 1542 h 4264910"/>
              <a:gd name="connsiteX123" fmla="*/ 2992869 w 5889610"/>
              <a:gd name="connsiteY123" fmla="*/ 386 h 4264910"/>
              <a:gd name="connsiteX124" fmla="*/ 2944668 w 5889610"/>
              <a:gd name="connsiteY124" fmla="*/ 0 h 4264910"/>
              <a:gd name="connsiteX125" fmla="*/ 2896458 w 5889610"/>
              <a:gd name="connsiteY125" fmla="*/ 386 h 4264910"/>
              <a:gd name="connsiteX126" fmla="*/ 2848435 w 5889610"/>
              <a:gd name="connsiteY126" fmla="*/ 1542 h 4264910"/>
              <a:gd name="connsiteX127" fmla="*/ 2800604 w 5889610"/>
              <a:gd name="connsiteY127" fmla="*/ 3461 h 4264910"/>
              <a:gd name="connsiteX128" fmla="*/ 2752972 w 5889610"/>
              <a:gd name="connsiteY128" fmla="*/ 6137 h 4264910"/>
              <a:gd name="connsiteX129" fmla="*/ 2705544 w 5889610"/>
              <a:gd name="connsiteY129" fmla="*/ 9564 h 4264910"/>
              <a:gd name="connsiteX130" fmla="*/ 2658327 w 5889610"/>
              <a:gd name="connsiteY130" fmla="*/ 13738 h 4264910"/>
              <a:gd name="connsiteX131" fmla="*/ 2611326 w 5889610"/>
              <a:gd name="connsiteY131" fmla="*/ 18651 h 4264910"/>
              <a:gd name="connsiteX132" fmla="*/ 2564548 w 5889610"/>
              <a:gd name="connsiteY132" fmla="*/ 24298 h 4264910"/>
              <a:gd name="connsiteX133" fmla="*/ 2517997 w 5889610"/>
              <a:gd name="connsiteY133" fmla="*/ 30673 h 4264910"/>
              <a:gd name="connsiteX134" fmla="*/ 2471680 w 5889610"/>
              <a:gd name="connsiteY134" fmla="*/ 37770 h 4264910"/>
              <a:gd name="connsiteX135" fmla="*/ 2425603 w 5889610"/>
              <a:gd name="connsiteY135" fmla="*/ 45584 h 4264910"/>
              <a:gd name="connsiteX136" fmla="*/ 2379772 w 5889610"/>
              <a:gd name="connsiteY136" fmla="*/ 54107 h 4264910"/>
              <a:gd name="connsiteX137" fmla="*/ 2334192 w 5889610"/>
              <a:gd name="connsiteY137" fmla="*/ 63336 h 4264910"/>
              <a:gd name="connsiteX138" fmla="*/ 2288870 w 5889610"/>
              <a:gd name="connsiteY138" fmla="*/ 73263 h 4264910"/>
              <a:gd name="connsiteX139" fmla="*/ 2243811 w 5889610"/>
              <a:gd name="connsiteY139" fmla="*/ 83883 h 4264910"/>
              <a:gd name="connsiteX140" fmla="*/ 2199022 w 5889610"/>
              <a:gd name="connsiteY140" fmla="*/ 95189 h 4264910"/>
              <a:gd name="connsiteX141" fmla="*/ 2154507 w 5889610"/>
              <a:gd name="connsiteY141" fmla="*/ 107177 h 4264910"/>
              <a:gd name="connsiteX142" fmla="*/ 2110274 w 5889610"/>
              <a:gd name="connsiteY142" fmla="*/ 119840 h 4264910"/>
              <a:gd name="connsiteX143" fmla="*/ 2066327 w 5889610"/>
              <a:gd name="connsiteY143" fmla="*/ 133172 h 4264910"/>
              <a:gd name="connsiteX144" fmla="*/ 2022674 w 5889610"/>
              <a:gd name="connsiteY144" fmla="*/ 147168 h 4264910"/>
              <a:gd name="connsiteX145" fmla="*/ 1979319 w 5889610"/>
              <a:gd name="connsiteY145" fmla="*/ 161821 h 4264910"/>
              <a:gd name="connsiteX146" fmla="*/ 1936268 w 5889610"/>
              <a:gd name="connsiteY146" fmla="*/ 177126 h 4264910"/>
              <a:gd name="connsiteX147" fmla="*/ 1893528 w 5889610"/>
              <a:gd name="connsiteY147" fmla="*/ 193077 h 4264910"/>
              <a:gd name="connsiteX148" fmla="*/ 1851105 w 5889610"/>
              <a:gd name="connsiteY148" fmla="*/ 209668 h 4264910"/>
              <a:gd name="connsiteX149" fmla="*/ 1809003 w 5889610"/>
              <a:gd name="connsiteY149" fmla="*/ 226893 h 4264910"/>
              <a:gd name="connsiteX150" fmla="*/ 1767230 w 5889610"/>
              <a:gd name="connsiteY150" fmla="*/ 244746 h 4264910"/>
              <a:gd name="connsiteX151" fmla="*/ 1725791 w 5889610"/>
              <a:gd name="connsiteY151" fmla="*/ 263221 h 4264910"/>
              <a:gd name="connsiteX152" fmla="*/ 1684691 w 5889610"/>
              <a:gd name="connsiteY152" fmla="*/ 282313 h 4264910"/>
              <a:gd name="connsiteX153" fmla="*/ 1643938 w 5889610"/>
              <a:gd name="connsiteY153" fmla="*/ 302015 h 4264910"/>
              <a:gd name="connsiteX154" fmla="*/ 1603536 w 5889610"/>
              <a:gd name="connsiteY154" fmla="*/ 322322 h 4264910"/>
              <a:gd name="connsiteX155" fmla="*/ 1563492 w 5889610"/>
              <a:gd name="connsiteY155" fmla="*/ 343228 h 4264910"/>
              <a:gd name="connsiteX156" fmla="*/ 1523811 w 5889610"/>
              <a:gd name="connsiteY156" fmla="*/ 364727 h 4264910"/>
              <a:gd name="connsiteX157" fmla="*/ 1484499 w 5889610"/>
              <a:gd name="connsiteY157" fmla="*/ 386814 h 4264910"/>
              <a:gd name="connsiteX158" fmla="*/ 1445563 w 5889610"/>
              <a:gd name="connsiteY158" fmla="*/ 409481 h 4264910"/>
              <a:gd name="connsiteX159" fmla="*/ 1407007 w 5889610"/>
              <a:gd name="connsiteY159" fmla="*/ 432724 h 4264910"/>
              <a:gd name="connsiteX160" fmla="*/ 1368839 w 5889610"/>
              <a:gd name="connsiteY160" fmla="*/ 456536 h 4264910"/>
              <a:gd name="connsiteX161" fmla="*/ 1331064 w 5889610"/>
              <a:gd name="connsiteY161" fmla="*/ 480912 h 4264910"/>
              <a:gd name="connsiteX162" fmla="*/ 1293687 w 5889610"/>
              <a:gd name="connsiteY162" fmla="*/ 505845 h 4264910"/>
              <a:gd name="connsiteX163" fmla="*/ 1256715 w 5889610"/>
              <a:gd name="connsiteY163" fmla="*/ 531331 h 4264910"/>
              <a:gd name="connsiteX164" fmla="*/ 1220154 w 5889610"/>
              <a:gd name="connsiteY164" fmla="*/ 557362 h 4264910"/>
              <a:gd name="connsiteX165" fmla="*/ 1184009 w 5889610"/>
              <a:gd name="connsiteY165" fmla="*/ 583934 h 4264910"/>
              <a:gd name="connsiteX166" fmla="*/ 1148286 w 5889610"/>
              <a:gd name="connsiteY166" fmla="*/ 611040 h 4264910"/>
              <a:gd name="connsiteX167" fmla="*/ 1112991 w 5889610"/>
              <a:gd name="connsiteY167" fmla="*/ 638674 h 4264910"/>
              <a:gd name="connsiteX168" fmla="*/ 1078131 w 5889610"/>
              <a:gd name="connsiteY168" fmla="*/ 666831 h 4264910"/>
              <a:gd name="connsiteX169" fmla="*/ 1043710 w 5889610"/>
              <a:gd name="connsiteY169" fmla="*/ 695504 h 4264910"/>
              <a:gd name="connsiteX170" fmla="*/ 1009736 w 5889610"/>
              <a:gd name="connsiteY170" fmla="*/ 724688 h 4264910"/>
              <a:gd name="connsiteX171" fmla="*/ 976213 w 5889610"/>
              <a:gd name="connsiteY171" fmla="*/ 754377 h 4264910"/>
              <a:gd name="connsiteX172" fmla="*/ 943148 w 5889610"/>
              <a:gd name="connsiteY172" fmla="*/ 784566 h 4264910"/>
              <a:gd name="connsiteX173" fmla="*/ 910546 w 5889610"/>
              <a:gd name="connsiteY173" fmla="*/ 815247 h 4264910"/>
              <a:gd name="connsiteX174" fmla="*/ 878413 w 5889610"/>
              <a:gd name="connsiteY174" fmla="*/ 846416 h 4264910"/>
              <a:gd name="connsiteX175" fmla="*/ 846756 w 5889610"/>
              <a:gd name="connsiteY175" fmla="*/ 878066 h 4264910"/>
              <a:gd name="connsiteX176" fmla="*/ 815581 w 5889610"/>
              <a:gd name="connsiteY176" fmla="*/ 910192 h 4264910"/>
              <a:gd name="connsiteX177" fmla="*/ 784892 w 5889610"/>
              <a:gd name="connsiteY177" fmla="*/ 942787 h 4264910"/>
              <a:gd name="connsiteX178" fmla="*/ 754696 w 5889610"/>
              <a:gd name="connsiteY178" fmla="*/ 975846 h 4264910"/>
              <a:gd name="connsiteX179" fmla="*/ 724999 w 5889610"/>
              <a:gd name="connsiteY179" fmla="*/ 1009363 h 4264910"/>
              <a:gd name="connsiteX180" fmla="*/ 695807 w 5889610"/>
              <a:gd name="connsiteY180" fmla="*/ 1043332 h 4264910"/>
              <a:gd name="connsiteX181" fmla="*/ 667125 w 5889610"/>
              <a:gd name="connsiteY181" fmla="*/ 1077748 h 4264910"/>
              <a:gd name="connsiteX182" fmla="*/ 638960 w 5889610"/>
              <a:gd name="connsiteY182" fmla="*/ 1112604 h 4264910"/>
              <a:gd name="connsiteX183" fmla="*/ 611317 w 5889610"/>
              <a:gd name="connsiteY183" fmla="*/ 1147894 h 4264910"/>
              <a:gd name="connsiteX184" fmla="*/ 584202 w 5889610"/>
              <a:gd name="connsiteY184" fmla="*/ 1183613 h 4264910"/>
              <a:gd name="connsiteX185" fmla="*/ 557622 w 5889610"/>
              <a:gd name="connsiteY185" fmla="*/ 1219754 h 4264910"/>
              <a:gd name="connsiteX186" fmla="*/ 531582 w 5889610"/>
              <a:gd name="connsiteY186" fmla="*/ 1256313 h 4264910"/>
              <a:gd name="connsiteX187" fmla="*/ 506087 w 5889610"/>
              <a:gd name="connsiteY187" fmla="*/ 1293282 h 4264910"/>
              <a:gd name="connsiteX188" fmla="*/ 481145 w 5889610"/>
              <a:gd name="connsiteY188" fmla="*/ 1330656 h 4264910"/>
              <a:gd name="connsiteX189" fmla="*/ 456760 w 5889610"/>
              <a:gd name="connsiteY189" fmla="*/ 1368430 h 4264910"/>
              <a:gd name="connsiteX190" fmla="*/ 432939 w 5889610"/>
              <a:gd name="connsiteY190" fmla="*/ 1406597 h 4264910"/>
              <a:gd name="connsiteX191" fmla="*/ 409687 w 5889610"/>
              <a:gd name="connsiteY191" fmla="*/ 1445152 h 4264910"/>
              <a:gd name="connsiteX192" fmla="*/ 387011 w 5889610"/>
              <a:gd name="connsiteY192" fmla="*/ 1484088 h 4264910"/>
              <a:gd name="connsiteX193" fmla="*/ 364915 w 5889610"/>
              <a:gd name="connsiteY193" fmla="*/ 1523400 h 4264910"/>
              <a:gd name="connsiteX194" fmla="*/ 343407 w 5889610"/>
              <a:gd name="connsiteY194" fmla="*/ 1563082 h 4264910"/>
              <a:gd name="connsiteX195" fmla="*/ 322492 w 5889610"/>
              <a:gd name="connsiteY195" fmla="*/ 1603127 h 4264910"/>
              <a:gd name="connsiteX196" fmla="*/ 302176 w 5889610"/>
              <a:gd name="connsiteY196" fmla="*/ 1643531 h 4264910"/>
              <a:gd name="connsiteX197" fmla="*/ 282465 w 5889610"/>
              <a:gd name="connsiteY197" fmla="*/ 1684288 h 4264910"/>
              <a:gd name="connsiteX198" fmla="*/ 263365 w 5889610"/>
              <a:gd name="connsiteY198" fmla="*/ 1725390 h 4264910"/>
              <a:gd name="connsiteX199" fmla="*/ 244881 w 5889610"/>
              <a:gd name="connsiteY199" fmla="*/ 1766833 h 4264910"/>
              <a:gd name="connsiteX200" fmla="*/ 227019 w 5889610"/>
              <a:gd name="connsiteY200" fmla="*/ 1808611 h 4264910"/>
              <a:gd name="connsiteX201" fmla="*/ 209786 w 5889610"/>
              <a:gd name="connsiteY201" fmla="*/ 1850718 h 4264910"/>
              <a:gd name="connsiteX202" fmla="*/ 193187 w 5889610"/>
              <a:gd name="connsiteY202" fmla="*/ 1893147 h 4264910"/>
              <a:gd name="connsiteX203" fmla="*/ 177228 w 5889610"/>
              <a:gd name="connsiteY203" fmla="*/ 1935894 h 4264910"/>
              <a:gd name="connsiteX204" fmla="*/ 161915 w 5889610"/>
              <a:gd name="connsiteY204" fmla="*/ 1978952 h 4264910"/>
              <a:gd name="connsiteX205" fmla="*/ 147254 w 5889610"/>
              <a:gd name="connsiteY205" fmla="*/ 2022315 h 4264910"/>
              <a:gd name="connsiteX206" fmla="*/ 133251 w 5889610"/>
              <a:gd name="connsiteY206" fmla="*/ 2065977 h 4264910"/>
              <a:gd name="connsiteX207" fmla="*/ 119912 w 5889610"/>
              <a:gd name="connsiteY207" fmla="*/ 2109933 h 4264910"/>
              <a:gd name="connsiteX208" fmla="*/ 107242 w 5889610"/>
              <a:gd name="connsiteY208" fmla="*/ 2154177 h 4264910"/>
              <a:gd name="connsiteX209" fmla="*/ 95247 w 5889610"/>
              <a:gd name="connsiteY209" fmla="*/ 2198702 h 4264910"/>
              <a:gd name="connsiteX210" fmla="*/ 83934 w 5889610"/>
              <a:gd name="connsiteY210" fmla="*/ 2243504 h 4264910"/>
              <a:gd name="connsiteX211" fmla="*/ 73308 w 5889610"/>
              <a:gd name="connsiteY211" fmla="*/ 2288575 h 4264910"/>
              <a:gd name="connsiteX212" fmla="*/ 63375 w 5889610"/>
              <a:gd name="connsiteY212" fmla="*/ 2333911 h 4264910"/>
              <a:gd name="connsiteX213" fmla="*/ 54141 w 5889610"/>
              <a:gd name="connsiteY213" fmla="*/ 2379505 h 4264910"/>
              <a:gd name="connsiteX214" fmla="*/ 45613 w 5889610"/>
              <a:gd name="connsiteY214" fmla="*/ 2425352 h 4264910"/>
              <a:gd name="connsiteX215" fmla="*/ 37794 w 5889610"/>
              <a:gd name="connsiteY215" fmla="*/ 2471445 h 4264910"/>
              <a:gd name="connsiteX216" fmla="*/ 30693 w 5889610"/>
              <a:gd name="connsiteY216" fmla="*/ 2517779 h 4264910"/>
              <a:gd name="connsiteX217" fmla="*/ 24314 w 5889610"/>
              <a:gd name="connsiteY217" fmla="*/ 2564347 h 4264910"/>
              <a:gd name="connsiteX218" fmla="*/ 18663 w 5889610"/>
              <a:gd name="connsiteY218" fmla="*/ 2611145 h 4264910"/>
              <a:gd name="connsiteX219" fmla="*/ 13747 w 5889610"/>
              <a:gd name="connsiteY219" fmla="*/ 2658166 h 4264910"/>
              <a:gd name="connsiteX220" fmla="*/ 9571 w 5889610"/>
              <a:gd name="connsiteY220" fmla="*/ 2705404 h 4264910"/>
              <a:gd name="connsiteX221" fmla="*/ 6141 w 5889610"/>
              <a:gd name="connsiteY221" fmla="*/ 2752853 h 4264910"/>
              <a:gd name="connsiteX222" fmla="*/ 3463 w 5889610"/>
              <a:gd name="connsiteY222" fmla="*/ 2800508 h 4264910"/>
              <a:gd name="connsiteX223" fmla="*/ 1543 w 5889610"/>
              <a:gd name="connsiteY223" fmla="*/ 2848362 h 4264910"/>
              <a:gd name="connsiteX224" fmla="*/ 386 w 5889610"/>
              <a:gd name="connsiteY224" fmla="*/ 2896411 h 4264910"/>
              <a:gd name="connsiteX225" fmla="*/ 0 w 5889610"/>
              <a:gd name="connsiteY225"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644634 w 5889610"/>
              <a:gd name="connsiteY0" fmla="*/ 4122645 h 4264910"/>
              <a:gd name="connsiteX1" fmla="*/ 5696346 w 5889610"/>
              <a:gd name="connsiteY1" fmla="*/ 3996315 h 4264910"/>
              <a:gd name="connsiteX2" fmla="*/ 5712311 w 5889610"/>
              <a:gd name="connsiteY2" fmla="*/ 3953563 h 4264910"/>
              <a:gd name="connsiteX3" fmla="*/ 5727629 w 5889610"/>
              <a:gd name="connsiteY3" fmla="*/ 3910499 h 4264910"/>
              <a:gd name="connsiteX4" fmla="*/ 5742296 w 5889610"/>
              <a:gd name="connsiteY4" fmla="*/ 3867130 h 4264910"/>
              <a:gd name="connsiteX5" fmla="*/ 5756304 w 5889610"/>
              <a:gd name="connsiteY5" fmla="*/ 3823462 h 4264910"/>
              <a:gd name="connsiteX6" fmla="*/ 5769649 w 5889610"/>
              <a:gd name="connsiteY6" fmla="*/ 3779500 h 4264910"/>
              <a:gd name="connsiteX7" fmla="*/ 5782324 w 5889610"/>
              <a:gd name="connsiteY7" fmla="*/ 3735250 h 4264910"/>
              <a:gd name="connsiteX8" fmla="*/ 5794323 w 5889610"/>
              <a:gd name="connsiteY8" fmla="*/ 3690717 h 4264910"/>
              <a:gd name="connsiteX9" fmla="*/ 5826208 w 5889610"/>
              <a:gd name="connsiteY9" fmla="*/ 3555488 h 4264910"/>
              <a:gd name="connsiteX10" fmla="*/ 5835445 w 5889610"/>
              <a:gd name="connsiteY10" fmla="*/ 3509887 h 4264910"/>
              <a:gd name="connsiteX11" fmla="*/ 5843978 w 5889610"/>
              <a:gd name="connsiteY11" fmla="*/ 3464033 h 4264910"/>
              <a:gd name="connsiteX12" fmla="*/ 5851799 w 5889610"/>
              <a:gd name="connsiteY12" fmla="*/ 3417933 h 4264910"/>
              <a:gd name="connsiteX13" fmla="*/ 5858904 w 5889610"/>
              <a:gd name="connsiteY13" fmla="*/ 3371591 h 4264910"/>
              <a:gd name="connsiteX14" fmla="*/ 5865285 w 5889610"/>
              <a:gd name="connsiteY14" fmla="*/ 3325015 h 4264910"/>
              <a:gd name="connsiteX15" fmla="*/ 5870938 w 5889610"/>
              <a:gd name="connsiteY15" fmla="*/ 3278209 h 4264910"/>
              <a:gd name="connsiteX16" fmla="*/ 5875857 w 5889610"/>
              <a:gd name="connsiteY16" fmla="*/ 3231180 h 4264910"/>
              <a:gd name="connsiteX17" fmla="*/ 5880035 w 5889610"/>
              <a:gd name="connsiteY17" fmla="*/ 3183934 h 4264910"/>
              <a:gd name="connsiteX18" fmla="*/ 5883466 w 5889610"/>
              <a:gd name="connsiteY18" fmla="*/ 3136476 h 4264910"/>
              <a:gd name="connsiteX19" fmla="*/ 5886146 w 5889610"/>
              <a:gd name="connsiteY19" fmla="*/ 3088813 h 4264910"/>
              <a:gd name="connsiteX20" fmla="*/ 5888067 w 5889610"/>
              <a:gd name="connsiteY20" fmla="*/ 3040949 h 4264910"/>
              <a:gd name="connsiteX21" fmla="*/ 5889223 w 5889610"/>
              <a:gd name="connsiteY21" fmla="*/ 2992892 h 4264910"/>
              <a:gd name="connsiteX22" fmla="*/ 5889610 w 5889610"/>
              <a:gd name="connsiteY22" fmla="*/ 2944647 h 4264910"/>
              <a:gd name="connsiteX23" fmla="*/ 5889223 w 5889610"/>
              <a:gd name="connsiteY23" fmla="*/ 2896411 h 4264910"/>
              <a:gd name="connsiteX24" fmla="*/ 5888067 w 5889610"/>
              <a:gd name="connsiteY24" fmla="*/ 2848362 h 4264910"/>
              <a:gd name="connsiteX25" fmla="*/ 5886146 w 5889610"/>
              <a:gd name="connsiteY25" fmla="*/ 2800508 h 4264910"/>
              <a:gd name="connsiteX26" fmla="*/ 5883466 w 5889610"/>
              <a:gd name="connsiteY26" fmla="*/ 2752853 h 4264910"/>
              <a:gd name="connsiteX27" fmla="*/ 5880035 w 5889610"/>
              <a:gd name="connsiteY27" fmla="*/ 2705404 h 4264910"/>
              <a:gd name="connsiteX28" fmla="*/ 5875857 w 5889610"/>
              <a:gd name="connsiteY28" fmla="*/ 2658166 h 4264910"/>
              <a:gd name="connsiteX29" fmla="*/ 5870938 w 5889610"/>
              <a:gd name="connsiteY29" fmla="*/ 2611145 h 4264910"/>
              <a:gd name="connsiteX30" fmla="*/ 5865285 w 5889610"/>
              <a:gd name="connsiteY30" fmla="*/ 2564347 h 4264910"/>
              <a:gd name="connsiteX31" fmla="*/ 5858904 w 5889610"/>
              <a:gd name="connsiteY31" fmla="*/ 2517779 h 4264910"/>
              <a:gd name="connsiteX32" fmla="*/ 5851799 w 5889610"/>
              <a:gd name="connsiteY32" fmla="*/ 2471445 h 4264910"/>
              <a:gd name="connsiteX33" fmla="*/ 5843978 w 5889610"/>
              <a:gd name="connsiteY33" fmla="*/ 2425352 h 4264910"/>
              <a:gd name="connsiteX34" fmla="*/ 5835445 w 5889610"/>
              <a:gd name="connsiteY34" fmla="*/ 2379505 h 4264910"/>
              <a:gd name="connsiteX35" fmla="*/ 5826208 w 5889610"/>
              <a:gd name="connsiteY35" fmla="*/ 2333911 h 4264910"/>
              <a:gd name="connsiteX36" fmla="*/ 5816271 w 5889610"/>
              <a:gd name="connsiteY36" fmla="*/ 2288575 h 4264910"/>
              <a:gd name="connsiteX37" fmla="*/ 5805641 w 5889610"/>
              <a:gd name="connsiteY37" fmla="*/ 2243504 h 4264910"/>
              <a:gd name="connsiteX38" fmla="*/ 5794323 w 5889610"/>
              <a:gd name="connsiteY38" fmla="*/ 2198702 h 4264910"/>
              <a:gd name="connsiteX39" fmla="*/ 5782324 w 5889610"/>
              <a:gd name="connsiteY39" fmla="*/ 2154177 h 4264910"/>
              <a:gd name="connsiteX40" fmla="*/ 5769649 w 5889610"/>
              <a:gd name="connsiteY40" fmla="*/ 2109933 h 4264910"/>
              <a:gd name="connsiteX41" fmla="*/ 5756304 w 5889610"/>
              <a:gd name="connsiteY41" fmla="*/ 2065977 h 4264910"/>
              <a:gd name="connsiteX42" fmla="*/ 5742296 w 5889610"/>
              <a:gd name="connsiteY42" fmla="*/ 2022315 h 4264910"/>
              <a:gd name="connsiteX43" fmla="*/ 5727629 w 5889610"/>
              <a:gd name="connsiteY43" fmla="*/ 1978952 h 4264910"/>
              <a:gd name="connsiteX44" fmla="*/ 5712311 w 5889610"/>
              <a:gd name="connsiteY44" fmla="*/ 1935894 h 4264910"/>
              <a:gd name="connsiteX45" fmla="*/ 5696346 w 5889610"/>
              <a:gd name="connsiteY45" fmla="*/ 1893147 h 4264910"/>
              <a:gd name="connsiteX46" fmla="*/ 5679741 w 5889610"/>
              <a:gd name="connsiteY46" fmla="*/ 1850718 h 4264910"/>
              <a:gd name="connsiteX47" fmla="*/ 5662502 w 5889610"/>
              <a:gd name="connsiteY47" fmla="*/ 1808611 h 4264910"/>
              <a:gd name="connsiteX48" fmla="*/ 5644634 w 5889610"/>
              <a:gd name="connsiteY48" fmla="*/ 1766833 h 4264910"/>
              <a:gd name="connsiteX49" fmla="*/ 5626144 w 5889610"/>
              <a:gd name="connsiteY49" fmla="*/ 1725390 h 4264910"/>
              <a:gd name="connsiteX50" fmla="*/ 5607037 w 5889610"/>
              <a:gd name="connsiteY50" fmla="*/ 1684288 h 4264910"/>
              <a:gd name="connsiteX51" fmla="*/ 5587319 w 5889610"/>
              <a:gd name="connsiteY51" fmla="*/ 1643531 h 4264910"/>
              <a:gd name="connsiteX52" fmla="*/ 5566997 w 5889610"/>
              <a:gd name="connsiteY52" fmla="*/ 1603127 h 4264910"/>
              <a:gd name="connsiteX53" fmla="*/ 5546075 w 5889610"/>
              <a:gd name="connsiteY53" fmla="*/ 1563082 h 4264910"/>
              <a:gd name="connsiteX54" fmla="*/ 5524560 w 5889610"/>
              <a:gd name="connsiteY54" fmla="*/ 1523400 h 4264910"/>
              <a:gd name="connsiteX55" fmla="*/ 5502458 w 5889610"/>
              <a:gd name="connsiteY55" fmla="*/ 1484088 h 4264910"/>
              <a:gd name="connsiteX56" fmla="*/ 5479775 w 5889610"/>
              <a:gd name="connsiteY56" fmla="*/ 1445152 h 4264910"/>
              <a:gd name="connsiteX57" fmla="*/ 5456516 w 5889610"/>
              <a:gd name="connsiteY57" fmla="*/ 1406597 h 4264910"/>
              <a:gd name="connsiteX58" fmla="*/ 5432688 w 5889610"/>
              <a:gd name="connsiteY58" fmla="*/ 1368430 h 4264910"/>
              <a:gd name="connsiteX59" fmla="*/ 5408296 w 5889610"/>
              <a:gd name="connsiteY59" fmla="*/ 1330656 h 4264910"/>
              <a:gd name="connsiteX60" fmla="*/ 5383346 w 5889610"/>
              <a:gd name="connsiteY60" fmla="*/ 1293282 h 4264910"/>
              <a:gd name="connsiteX61" fmla="*/ 5357845 w 5889610"/>
              <a:gd name="connsiteY61" fmla="*/ 1256313 h 4264910"/>
              <a:gd name="connsiteX62" fmla="*/ 5331797 w 5889610"/>
              <a:gd name="connsiteY62" fmla="*/ 1219754 h 4264910"/>
              <a:gd name="connsiteX63" fmla="*/ 5305210 w 5889610"/>
              <a:gd name="connsiteY63" fmla="*/ 1183613 h 4264910"/>
              <a:gd name="connsiteX64" fmla="*/ 5278088 w 5889610"/>
              <a:gd name="connsiteY64" fmla="*/ 1147894 h 4264910"/>
              <a:gd name="connsiteX65" fmla="*/ 5250438 w 5889610"/>
              <a:gd name="connsiteY65" fmla="*/ 1112604 h 4264910"/>
              <a:gd name="connsiteX66" fmla="*/ 5222266 w 5889610"/>
              <a:gd name="connsiteY66" fmla="*/ 1077748 h 4264910"/>
              <a:gd name="connsiteX67" fmla="*/ 5193577 w 5889610"/>
              <a:gd name="connsiteY67" fmla="*/ 1043332 h 4264910"/>
              <a:gd name="connsiteX68" fmla="*/ 5164378 w 5889610"/>
              <a:gd name="connsiteY68" fmla="*/ 1009363 h 4264910"/>
              <a:gd name="connsiteX69" fmla="*/ 5134674 w 5889610"/>
              <a:gd name="connsiteY69" fmla="*/ 975846 h 4264910"/>
              <a:gd name="connsiteX70" fmla="*/ 5104471 w 5889610"/>
              <a:gd name="connsiteY70" fmla="*/ 942787 h 4264910"/>
              <a:gd name="connsiteX71" fmla="*/ 5073776 w 5889610"/>
              <a:gd name="connsiteY71" fmla="*/ 910192 h 4264910"/>
              <a:gd name="connsiteX72" fmla="*/ 5042593 w 5889610"/>
              <a:gd name="connsiteY72" fmla="*/ 878066 h 4264910"/>
              <a:gd name="connsiteX73" fmla="*/ 5010930 w 5889610"/>
              <a:gd name="connsiteY73" fmla="*/ 846416 h 4264910"/>
              <a:gd name="connsiteX74" fmla="*/ 4978791 w 5889610"/>
              <a:gd name="connsiteY74" fmla="*/ 815247 h 4264910"/>
              <a:gd name="connsiteX75" fmla="*/ 4946183 w 5889610"/>
              <a:gd name="connsiteY75" fmla="*/ 784566 h 4264910"/>
              <a:gd name="connsiteX76" fmla="*/ 4913111 w 5889610"/>
              <a:gd name="connsiteY76" fmla="*/ 754377 h 4264910"/>
              <a:gd name="connsiteX77" fmla="*/ 4879582 w 5889610"/>
              <a:gd name="connsiteY77" fmla="*/ 724688 h 4264910"/>
              <a:gd name="connsiteX78" fmla="*/ 4845602 w 5889610"/>
              <a:gd name="connsiteY78" fmla="*/ 695504 h 4264910"/>
              <a:gd name="connsiteX79" fmla="*/ 4811176 w 5889610"/>
              <a:gd name="connsiteY79" fmla="*/ 666831 h 4264910"/>
              <a:gd name="connsiteX80" fmla="*/ 4776309 w 5889610"/>
              <a:gd name="connsiteY80" fmla="*/ 638674 h 4264910"/>
              <a:gd name="connsiteX81" fmla="*/ 4741009 w 5889610"/>
              <a:gd name="connsiteY81" fmla="*/ 611040 h 4264910"/>
              <a:gd name="connsiteX82" fmla="*/ 4705281 w 5889610"/>
              <a:gd name="connsiteY82" fmla="*/ 583934 h 4264910"/>
              <a:gd name="connsiteX83" fmla="*/ 4669131 w 5889610"/>
              <a:gd name="connsiteY83" fmla="*/ 557362 h 4264910"/>
              <a:gd name="connsiteX84" fmla="*/ 4632565 w 5889610"/>
              <a:gd name="connsiteY84" fmla="*/ 531331 h 4264910"/>
              <a:gd name="connsiteX85" fmla="*/ 4595588 w 5889610"/>
              <a:gd name="connsiteY85" fmla="*/ 505845 h 4264910"/>
              <a:gd name="connsiteX86" fmla="*/ 4558207 w 5889610"/>
              <a:gd name="connsiteY86" fmla="*/ 480912 h 4264910"/>
              <a:gd name="connsiteX87" fmla="*/ 4520427 w 5889610"/>
              <a:gd name="connsiteY87" fmla="*/ 456536 h 4264910"/>
              <a:gd name="connsiteX88" fmla="*/ 4482255 w 5889610"/>
              <a:gd name="connsiteY88" fmla="*/ 432724 h 4264910"/>
              <a:gd name="connsiteX89" fmla="*/ 4443696 w 5889610"/>
              <a:gd name="connsiteY89" fmla="*/ 409481 h 4264910"/>
              <a:gd name="connsiteX90" fmla="*/ 4404756 w 5889610"/>
              <a:gd name="connsiteY90" fmla="*/ 386814 h 4264910"/>
              <a:gd name="connsiteX91" fmla="*/ 4365441 w 5889610"/>
              <a:gd name="connsiteY91" fmla="*/ 364727 h 4264910"/>
              <a:gd name="connsiteX92" fmla="*/ 4325757 w 5889610"/>
              <a:gd name="connsiteY92" fmla="*/ 343228 h 4264910"/>
              <a:gd name="connsiteX93" fmla="*/ 4285710 w 5889610"/>
              <a:gd name="connsiteY93" fmla="*/ 322322 h 4264910"/>
              <a:gd name="connsiteX94" fmla="*/ 4245306 w 5889610"/>
              <a:gd name="connsiteY94" fmla="*/ 302015 h 4264910"/>
              <a:gd name="connsiteX95" fmla="*/ 4204550 w 5889610"/>
              <a:gd name="connsiteY95" fmla="*/ 282313 h 4264910"/>
              <a:gd name="connsiteX96" fmla="*/ 4163449 w 5889610"/>
              <a:gd name="connsiteY96" fmla="*/ 263221 h 4264910"/>
              <a:gd name="connsiteX97" fmla="*/ 4122008 w 5889610"/>
              <a:gd name="connsiteY97" fmla="*/ 244746 h 4264910"/>
              <a:gd name="connsiteX98" fmla="*/ 4080233 w 5889610"/>
              <a:gd name="connsiteY98" fmla="*/ 226893 h 4264910"/>
              <a:gd name="connsiteX99" fmla="*/ 4038131 w 5889610"/>
              <a:gd name="connsiteY99" fmla="*/ 209668 h 4264910"/>
              <a:gd name="connsiteX100" fmla="*/ 3995707 w 5889610"/>
              <a:gd name="connsiteY100" fmla="*/ 193077 h 4264910"/>
              <a:gd name="connsiteX101" fmla="*/ 3952967 w 5889610"/>
              <a:gd name="connsiteY101" fmla="*/ 177126 h 4264910"/>
              <a:gd name="connsiteX102" fmla="*/ 3909916 w 5889610"/>
              <a:gd name="connsiteY102" fmla="*/ 161821 h 4264910"/>
              <a:gd name="connsiteX103" fmla="*/ 3866562 w 5889610"/>
              <a:gd name="connsiteY103" fmla="*/ 147168 h 4264910"/>
              <a:gd name="connsiteX104" fmla="*/ 3822909 w 5889610"/>
              <a:gd name="connsiteY104" fmla="*/ 133172 h 4264910"/>
              <a:gd name="connsiteX105" fmla="*/ 3778964 w 5889610"/>
              <a:gd name="connsiteY105" fmla="*/ 119840 h 4264910"/>
              <a:gd name="connsiteX106" fmla="*/ 3734732 w 5889610"/>
              <a:gd name="connsiteY106" fmla="*/ 107177 h 4264910"/>
              <a:gd name="connsiteX107" fmla="*/ 3690220 w 5889610"/>
              <a:gd name="connsiteY107" fmla="*/ 95189 h 4264910"/>
              <a:gd name="connsiteX108" fmla="*/ 3645433 w 5889610"/>
              <a:gd name="connsiteY108" fmla="*/ 83883 h 4264910"/>
              <a:gd name="connsiteX109" fmla="*/ 3600377 w 5889610"/>
              <a:gd name="connsiteY109" fmla="*/ 73263 h 4264910"/>
              <a:gd name="connsiteX110" fmla="*/ 3555058 w 5889610"/>
              <a:gd name="connsiteY110" fmla="*/ 63336 h 4264910"/>
              <a:gd name="connsiteX111" fmla="*/ 3509482 w 5889610"/>
              <a:gd name="connsiteY111" fmla="*/ 54107 h 4264910"/>
              <a:gd name="connsiteX112" fmla="*/ 3463655 w 5889610"/>
              <a:gd name="connsiteY112" fmla="*/ 45584 h 4264910"/>
              <a:gd name="connsiteX113" fmla="*/ 3417583 w 5889610"/>
              <a:gd name="connsiteY113" fmla="*/ 37770 h 4264910"/>
              <a:gd name="connsiteX114" fmla="*/ 3371271 w 5889610"/>
              <a:gd name="connsiteY114" fmla="*/ 30673 h 4264910"/>
              <a:gd name="connsiteX115" fmla="*/ 3324726 w 5889610"/>
              <a:gd name="connsiteY115" fmla="*/ 24298 h 4264910"/>
              <a:gd name="connsiteX116" fmla="*/ 3277953 w 5889610"/>
              <a:gd name="connsiteY116" fmla="*/ 18651 h 4264910"/>
              <a:gd name="connsiteX117" fmla="*/ 3230959 w 5889610"/>
              <a:gd name="connsiteY117" fmla="*/ 13738 h 4264910"/>
              <a:gd name="connsiteX118" fmla="*/ 3183749 w 5889610"/>
              <a:gd name="connsiteY118" fmla="*/ 9564 h 4264910"/>
              <a:gd name="connsiteX119" fmla="*/ 3136329 w 5889610"/>
              <a:gd name="connsiteY119" fmla="*/ 6137 h 4264910"/>
              <a:gd name="connsiteX120" fmla="*/ 3088705 w 5889610"/>
              <a:gd name="connsiteY120" fmla="*/ 3461 h 4264910"/>
              <a:gd name="connsiteX121" fmla="*/ 3040883 w 5889610"/>
              <a:gd name="connsiteY121" fmla="*/ 1542 h 4264910"/>
              <a:gd name="connsiteX122" fmla="*/ 2992869 w 5889610"/>
              <a:gd name="connsiteY122" fmla="*/ 386 h 4264910"/>
              <a:gd name="connsiteX123" fmla="*/ 2944668 w 5889610"/>
              <a:gd name="connsiteY123" fmla="*/ 0 h 4264910"/>
              <a:gd name="connsiteX124" fmla="*/ 2896458 w 5889610"/>
              <a:gd name="connsiteY124" fmla="*/ 386 h 4264910"/>
              <a:gd name="connsiteX125" fmla="*/ 2848435 w 5889610"/>
              <a:gd name="connsiteY125" fmla="*/ 1542 h 4264910"/>
              <a:gd name="connsiteX126" fmla="*/ 2800604 w 5889610"/>
              <a:gd name="connsiteY126" fmla="*/ 3461 h 4264910"/>
              <a:gd name="connsiteX127" fmla="*/ 2752972 w 5889610"/>
              <a:gd name="connsiteY127" fmla="*/ 6137 h 4264910"/>
              <a:gd name="connsiteX128" fmla="*/ 2705544 w 5889610"/>
              <a:gd name="connsiteY128" fmla="*/ 9564 h 4264910"/>
              <a:gd name="connsiteX129" fmla="*/ 2658327 w 5889610"/>
              <a:gd name="connsiteY129" fmla="*/ 13738 h 4264910"/>
              <a:gd name="connsiteX130" fmla="*/ 2611326 w 5889610"/>
              <a:gd name="connsiteY130" fmla="*/ 18651 h 4264910"/>
              <a:gd name="connsiteX131" fmla="*/ 2564548 w 5889610"/>
              <a:gd name="connsiteY131" fmla="*/ 24298 h 4264910"/>
              <a:gd name="connsiteX132" fmla="*/ 2517997 w 5889610"/>
              <a:gd name="connsiteY132" fmla="*/ 30673 h 4264910"/>
              <a:gd name="connsiteX133" fmla="*/ 2471680 w 5889610"/>
              <a:gd name="connsiteY133" fmla="*/ 37770 h 4264910"/>
              <a:gd name="connsiteX134" fmla="*/ 2425603 w 5889610"/>
              <a:gd name="connsiteY134" fmla="*/ 45584 h 4264910"/>
              <a:gd name="connsiteX135" fmla="*/ 2379772 w 5889610"/>
              <a:gd name="connsiteY135" fmla="*/ 54107 h 4264910"/>
              <a:gd name="connsiteX136" fmla="*/ 2334192 w 5889610"/>
              <a:gd name="connsiteY136" fmla="*/ 63336 h 4264910"/>
              <a:gd name="connsiteX137" fmla="*/ 2288870 w 5889610"/>
              <a:gd name="connsiteY137" fmla="*/ 73263 h 4264910"/>
              <a:gd name="connsiteX138" fmla="*/ 2243811 w 5889610"/>
              <a:gd name="connsiteY138" fmla="*/ 83883 h 4264910"/>
              <a:gd name="connsiteX139" fmla="*/ 2199022 w 5889610"/>
              <a:gd name="connsiteY139" fmla="*/ 95189 h 4264910"/>
              <a:gd name="connsiteX140" fmla="*/ 2154507 w 5889610"/>
              <a:gd name="connsiteY140" fmla="*/ 107177 h 4264910"/>
              <a:gd name="connsiteX141" fmla="*/ 2110274 w 5889610"/>
              <a:gd name="connsiteY141" fmla="*/ 119840 h 4264910"/>
              <a:gd name="connsiteX142" fmla="*/ 2066327 w 5889610"/>
              <a:gd name="connsiteY142" fmla="*/ 133172 h 4264910"/>
              <a:gd name="connsiteX143" fmla="*/ 2022674 w 5889610"/>
              <a:gd name="connsiteY143" fmla="*/ 147168 h 4264910"/>
              <a:gd name="connsiteX144" fmla="*/ 1979319 w 5889610"/>
              <a:gd name="connsiteY144" fmla="*/ 161821 h 4264910"/>
              <a:gd name="connsiteX145" fmla="*/ 1936268 w 5889610"/>
              <a:gd name="connsiteY145" fmla="*/ 177126 h 4264910"/>
              <a:gd name="connsiteX146" fmla="*/ 1893528 w 5889610"/>
              <a:gd name="connsiteY146" fmla="*/ 193077 h 4264910"/>
              <a:gd name="connsiteX147" fmla="*/ 1851105 w 5889610"/>
              <a:gd name="connsiteY147" fmla="*/ 209668 h 4264910"/>
              <a:gd name="connsiteX148" fmla="*/ 1809003 w 5889610"/>
              <a:gd name="connsiteY148" fmla="*/ 226893 h 4264910"/>
              <a:gd name="connsiteX149" fmla="*/ 1767230 w 5889610"/>
              <a:gd name="connsiteY149" fmla="*/ 244746 h 4264910"/>
              <a:gd name="connsiteX150" fmla="*/ 1725791 w 5889610"/>
              <a:gd name="connsiteY150" fmla="*/ 263221 h 4264910"/>
              <a:gd name="connsiteX151" fmla="*/ 1684691 w 5889610"/>
              <a:gd name="connsiteY151" fmla="*/ 282313 h 4264910"/>
              <a:gd name="connsiteX152" fmla="*/ 1643938 w 5889610"/>
              <a:gd name="connsiteY152" fmla="*/ 302015 h 4264910"/>
              <a:gd name="connsiteX153" fmla="*/ 1603536 w 5889610"/>
              <a:gd name="connsiteY153" fmla="*/ 322322 h 4264910"/>
              <a:gd name="connsiteX154" fmla="*/ 1563492 w 5889610"/>
              <a:gd name="connsiteY154" fmla="*/ 343228 h 4264910"/>
              <a:gd name="connsiteX155" fmla="*/ 1523811 w 5889610"/>
              <a:gd name="connsiteY155" fmla="*/ 364727 h 4264910"/>
              <a:gd name="connsiteX156" fmla="*/ 1484499 w 5889610"/>
              <a:gd name="connsiteY156" fmla="*/ 386814 h 4264910"/>
              <a:gd name="connsiteX157" fmla="*/ 1445563 w 5889610"/>
              <a:gd name="connsiteY157" fmla="*/ 409481 h 4264910"/>
              <a:gd name="connsiteX158" fmla="*/ 1407007 w 5889610"/>
              <a:gd name="connsiteY158" fmla="*/ 432724 h 4264910"/>
              <a:gd name="connsiteX159" fmla="*/ 1368839 w 5889610"/>
              <a:gd name="connsiteY159" fmla="*/ 456536 h 4264910"/>
              <a:gd name="connsiteX160" fmla="*/ 1331064 w 5889610"/>
              <a:gd name="connsiteY160" fmla="*/ 480912 h 4264910"/>
              <a:gd name="connsiteX161" fmla="*/ 1293687 w 5889610"/>
              <a:gd name="connsiteY161" fmla="*/ 505845 h 4264910"/>
              <a:gd name="connsiteX162" fmla="*/ 1256715 w 5889610"/>
              <a:gd name="connsiteY162" fmla="*/ 531331 h 4264910"/>
              <a:gd name="connsiteX163" fmla="*/ 1220154 w 5889610"/>
              <a:gd name="connsiteY163" fmla="*/ 557362 h 4264910"/>
              <a:gd name="connsiteX164" fmla="*/ 1184009 w 5889610"/>
              <a:gd name="connsiteY164" fmla="*/ 583934 h 4264910"/>
              <a:gd name="connsiteX165" fmla="*/ 1148286 w 5889610"/>
              <a:gd name="connsiteY165" fmla="*/ 611040 h 4264910"/>
              <a:gd name="connsiteX166" fmla="*/ 1112991 w 5889610"/>
              <a:gd name="connsiteY166" fmla="*/ 638674 h 4264910"/>
              <a:gd name="connsiteX167" fmla="*/ 1078131 w 5889610"/>
              <a:gd name="connsiteY167" fmla="*/ 666831 h 4264910"/>
              <a:gd name="connsiteX168" fmla="*/ 1043710 w 5889610"/>
              <a:gd name="connsiteY168" fmla="*/ 695504 h 4264910"/>
              <a:gd name="connsiteX169" fmla="*/ 1009736 w 5889610"/>
              <a:gd name="connsiteY169" fmla="*/ 724688 h 4264910"/>
              <a:gd name="connsiteX170" fmla="*/ 976213 w 5889610"/>
              <a:gd name="connsiteY170" fmla="*/ 754377 h 4264910"/>
              <a:gd name="connsiteX171" fmla="*/ 943148 w 5889610"/>
              <a:gd name="connsiteY171" fmla="*/ 784566 h 4264910"/>
              <a:gd name="connsiteX172" fmla="*/ 910546 w 5889610"/>
              <a:gd name="connsiteY172" fmla="*/ 815247 h 4264910"/>
              <a:gd name="connsiteX173" fmla="*/ 878413 w 5889610"/>
              <a:gd name="connsiteY173" fmla="*/ 846416 h 4264910"/>
              <a:gd name="connsiteX174" fmla="*/ 846756 w 5889610"/>
              <a:gd name="connsiteY174" fmla="*/ 878066 h 4264910"/>
              <a:gd name="connsiteX175" fmla="*/ 815581 w 5889610"/>
              <a:gd name="connsiteY175" fmla="*/ 910192 h 4264910"/>
              <a:gd name="connsiteX176" fmla="*/ 784892 w 5889610"/>
              <a:gd name="connsiteY176" fmla="*/ 942787 h 4264910"/>
              <a:gd name="connsiteX177" fmla="*/ 754696 w 5889610"/>
              <a:gd name="connsiteY177" fmla="*/ 975846 h 4264910"/>
              <a:gd name="connsiteX178" fmla="*/ 724999 w 5889610"/>
              <a:gd name="connsiteY178" fmla="*/ 1009363 h 4264910"/>
              <a:gd name="connsiteX179" fmla="*/ 695807 w 5889610"/>
              <a:gd name="connsiteY179" fmla="*/ 1043332 h 4264910"/>
              <a:gd name="connsiteX180" fmla="*/ 667125 w 5889610"/>
              <a:gd name="connsiteY180" fmla="*/ 1077748 h 4264910"/>
              <a:gd name="connsiteX181" fmla="*/ 638960 w 5889610"/>
              <a:gd name="connsiteY181" fmla="*/ 1112604 h 4264910"/>
              <a:gd name="connsiteX182" fmla="*/ 611317 w 5889610"/>
              <a:gd name="connsiteY182" fmla="*/ 1147894 h 4264910"/>
              <a:gd name="connsiteX183" fmla="*/ 584202 w 5889610"/>
              <a:gd name="connsiteY183" fmla="*/ 1183613 h 4264910"/>
              <a:gd name="connsiteX184" fmla="*/ 557622 w 5889610"/>
              <a:gd name="connsiteY184" fmla="*/ 1219754 h 4264910"/>
              <a:gd name="connsiteX185" fmla="*/ 531582 w 5889610"/>
              <a:gd name="connsiteY185" fmla="*/ 1256313 h 4264910"/>
              <a:gd name="connsiteX186" fmla="*/ 506087 w 5889610"/>
              <a:gd name="connsiteY186" fmla="*/ 1293282 h 4264910"/>
              <a:gd name="connsiteX187" fmla="*/ 481145 w 5889610"/>
              <a:gd name="connsiteY187" fmla="*/ 1330656 h 4264910"/>
              <a:gd name="connsiteX188" fmla="*/ 456760 w 5889610"/>
              <a:gd name="connsiteY188" fmla="*/ 1368430 h 4264910"/>
              <a:gd name="connsiteX189" fmla="*/ 432939 w 5889610"/>
              <a:gd name="connsiteY189" fmla="*/ 1406597 h 4264910"/>
              <a:gd name="connsiteX190" fmla="*/ 409687 w 5889610"/>
              <a:gd name="connsiteY190" fmla="*/ 1445152 h 4264910"/>
              <a:gd name="connsiteX191" fmla="*/ 387011 w 5889610"/>
              <a:gd name="connsiteY191" fmla="*/ 1484088 h 4264910"/>
              <a:gd name="connsiteX192" fmla="*/ 364915 w 5889610"/>
              <a:gd name="connsiteY192" fmla="*/ 1523400 h 4264910"/>
              <a:gd name="connsiteX193" fmla="*/ 343407 w 5889610"/>
              <a:gd name="connsiteY193" fmla="*/ 1563082 h 4264910"/>
              <a:gd name="connsiteX194" fmla="*/ 322492 w 5889610"/>
              <a:gd name="connsiteY194" fmla="*/ 1603127 h 4264910"/>
              <a:gd name="connsiteX195" fmla="*/ 302176 w 5889610"/>
              <a:gd name="connsiteY195" fmla="*/ 1643531 h 4264910"/>
              <a:gd name="connsiteX196" fmla="*/ 282465 w 5889610"/>
              <a:gd name="connsiteY196" fmla="*/ 1684288 h 4264910"/>
              <a:gd name="connsiteX197" fmla="*/ 263365 w 5889610"/>
              <a:gd name="connsiteY197" fmla="*/ 1725390 h 4264910"/>
              <a:gd name="connsiteX198" fmla="*/ 244881 w 5889610"/>
              <a:gd name="connsiteY198" fmla="*/ 1766833 h 4264910"/>
              <a:gd name="connsiteX199" fmla="*/ 227019 w 5889610"/>
              <a:gd name="connsiteY199" fmla="*/ 1808611 h 4264910"/>
              <a:gd name="connsiteX200" fmla="*/ 209786 w 5889610"/>
              <a:gd name="connsiteY200" fmla="*/ 1850718 h 4264910"/>
              <a:gd name="connsiteX201" fmla="*/ 193187 w 5889610"/>
              <a:gd name="connsiteY201" fmla="*/ 1893147 h 4264910"/>
              <a:gd name="connsiteX202" fmla="*/ 177228 w 5889610"/>
              <a:gd name="connsiteY202" fmla="*/ 1935894 h 4264910"/>
              <a:gd name="connsiteX203" fmla="*/ 161915 w 5889610"/>
              <a:gd name="connsiteY203" fmla="*/ 1978952 h 4264910"/>
              <a:gd name="connsiteX204" fmla="*/ 147254 w 5889610"/>
              <a:gd name="connsiteY204" fmla="*/ 2022315 h 4264910"/>
              <a:gd name="connsiteX205" fmla="*/ 133251 w 5889610"/>
              <a:gd name="connsiteY205" fmla="*/ 2065977 h 4264910"/>
              <a:gd name="connsiteX206" fmla="*/ 119912 w 5889610"/>
              <a:gd name="connsiteY206" fmla="*/ 2109933 h 4264910"/>
              <a:gd name="connsiteX207" fmla="*/ 107242 w 5889610"/>
              <a:gd name="connsiteY207" fmla="*/ 2154177 h 4264910"/>
              <a:gd name="connsiteX208" fmla="*/ 95247 w 5889610"/>
              <a:gd name="connsiteY208" fmla="*/ 2198702 h 4264910"/>
              <a:gd name="connsiteX209" fmla="*/ 83934 w 5889610"/>
              <a:gd name="connsiteY209" fmla="*/ 2243504 h 4264910"/>
              <a:gd name="connsiteX210" fmla="*/ 73308 w 5889610"/>
              <a:gd name="connsiteY210" fmla="*/ 2288575 h 4264910"/>
              <a:gd name="connsiteX211" fmla="*/ 63375 w 5889610"/>
              <a:gd name="connsiteY211" fmla="*/ 2333911 h 4264910"/>
              <a:gd name="connsiteX212" fmla="*/ 54141 w 5889610"/>
              <a:gd name="connsiteY212" fmla="*/ 2379505 h 4264910"/>
              <a:gd name="connsiteX213" fmla="*/ 45613 w 5889610"/>
              <a:gd name="connsiteY213" fmla="*/ 2425352 h 4264910"/>
              <a:gd name="connsiteX214" fmla="*/ 37794 w 5889610"/>
              <a:gd name="connsiteY214" fmla="*/ 2471445 h 4264910"/>
              <a:gd name="connsiteX215" fmla="*/ 30693 w 5889610"/>
              <a:gd name="connsiteY215" fmla="*/ 2517779 h 4264910"/>
              <a:gd name="connsiteX216" fmla="*/ 24314 w 5889610"/>
              <a:gd name="connsiteY216" fmla="*/ 2564347 h 4264910"/>
              <a:gd name="connsiteX217" fmla="*/ 18663 w 5889610"/>
              <a:gd name="connsiteY217" fmla="*/ 2611145 h 4264910"/>
              <a:gd name="connsiteX218" fmla="*/ 13747 w 5889610"/>
              <a:gd name="connsiteY218" fmla="*/ 2658166 h 4264910"/>
              <a:gd name="connsiteX219" fmla="*/ 9571 w 5889610"/>
              <a:gd name="connsiteY219" fmla="*/ 2705404 h 4264910"/>
              <a:gd name="connsiteX220" fmla="*/ 6141 w 5889610"/>
              <a:gd name="connsiteY220" fmla="*/ 2752853 h 4264910"/>
              <a:gd name="connsiteX221" fmla="*/ 3463 w 5889610"/>
              <a:gd name="connsiteY221" fmla="*/ 2800508 h 4264910"/>
              <a:gd name="connsiteX222" fmla="*/ 1543 w 5889610"/>
              <a:gd name="connsiteY222" fmla="*/ 2848362 h 4264910"/>
              <a:gd name="connsiteX223" fmla="*/ 386 w 5889610"/>
              <a:gd name="connsiteY223" fmla="*/ 2896411 h 4264910"/>
              <a:gd name="connsiteX224" fmla="*/ 0 w 5889610"/>
              <a:gd name="connsiteY224"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696346 w 5889610"/>
              <a:gd name="connsiteY0" fmla="*/ 3996315 h 4264910"/>
              <a:gd name="connsiteX1" fmla="*/ 5712311 w 5889610"/>
              <a:gd name="connsiteY1" fmla="*/ 3953563 h 4264910"/>
              <a:gd name="connsiteX2" fmla="*/ 5727629 w 5889610"/>
              <a:gd name="connsiteY2" fmla="*/ 3910499 h 4264910"/>
              <a:gd name="connsiteX3" fmla="*/ 5742296 w 5889610"/>
              <a:gd name="connsiteY3" fmla="*/ 3867130 h 4264910"/>
              <a:gd name="connsiteX4" fmla="*/ 5756304 w 5889610"/>
              <a:gd name="connsiteY4" fmla="*/ 3823462 h 4264910"/>
              <a:gd name="connsiteX5" fmla="*/ 5769649 w 5889610"/>
              <a:gd name="connsiteY5" fmla="*/ 3779500 h 4264910"/>
              <a:gd name="connsiteX6" fmla="*/ 5782324 w 5889610"/>
              <a:gd name="connsiteY6" fmla="*/ 3735250 h 4264910"/>
              <a:gd name="connsiteX7" fmla="*/ 5794323 w 5889610"/>
              <a:gd name="connsiteY7" fmla="*/ 3690717 h 4264910"/>
              <a:gd name="connsiteX8" fmla="*/ 5826208 w 5889610"/>
              <a:gd name="connsiteY8" fmla="*/ 3555488 h 4264910"/>
              <a:gd name="connsiteX9" fmla="*/ 5835445 w 5889610"/>
              <a:gd name="connsiteY9" fmla="*/ 3509887 h 4264910"/>
              <a:gd name="connsiteX10" fmla="*/ 5843978 w 5889610"/>
              <a:gd name="connsiteY10" fmla="*/ 3464033 h 4264910"/>
              <a:gd name="connsiteX11" fmla="*/ 5851799 w 5889610"/>
              <a:gd name="connsiteY11" fmla="*/ 3417933 h 4264910"/>
              <a:gd name="connsiteX12" fmla="*/ 5858904 w 5889610"/>
              <a:gd name="connsiteY12" fmla="*/ 3371591 h 4264910"/>
              <a:gd name="connsiteX13" fmla="*/ 5865285 w 5889610"/>
              <a:gd name="connsiteY13" fmla="*/ 3325015 h 4264910"/>
              <a:gd name="connsiteX14" fmla="*/ 5870938 w 5889610"/>
              <a:gd name="connsiteY14" fmla="*/ 3278209 h 4264910"/>
              <a:gd name="connsiteX15" fmla="*/ 5875857 w 5889610"/>
              <a:gd name="connsiteY15" fmla="*/ 3231180 h 4264910"/>
              <a:gd name="connsiteX16" fmla="*/ 5880035 w 5889610"/>
              <a:gd name="connsiteY16" fmla="*/ 3183934 h 4264910"/>
              <a:gd name="connsiteX17" fmla="*/ 5883466 w 5889610"/>
              <a:gd name="connsiteY17" fmla="*/ 3136476 h 4264910"/>
              <a:gd name="connsiteX18" fmla="*/ 5886146 w 5889610"/>
              <a:gd name="connsiteY18" fmla="*/ 3088813 h 4264910"/>
              <a:gd name="connsiteX19" fmla="*/ 5888067 w 5889610"/>
              <a:gd name="connsiteY19" fmla="*/ 3040949 h 4264910"/>
              <a:gd name="connsiteX20" fmla="*/ 5889223 w 5889610"/>
              <a:gd name="connsiteY20" fmla="*/ 2992892 h 4264910"/>
              <a:gd name="connsiteX21" fmla="*/ 5889610 w 5889610"/>
              <a:gd name="connsiteY21" fmla="*/ 2944647 h 4264910"/>
              <a:gd name="connsiteX22" fmla="*/ 5889223 w 5889610"/>
              <a:gd name="connsiteY22" fmla="*/ 2896411 h 4264910"/>
              <a:gd name="connsiteX23" fmla="*/ 5888067 w 5889610"/>
              <a:gd name="connsiteY23" fmla="*/ 2848362 h 4264910"/>
              <a:gd name="connsiteX24" fmla="*/ 5886146 w 5889610"/>
              <a:gd name="connsiteY24" fmla="*/ 2800508 h 4264910"/>
              <a:gd name="connsiteX25" fmla="*/ 5883466 w 5889610"/>
              <a:gd name="connsiteY25" fmla="*/ 2752853 h 4264910"/>
              <a:gd name="connsiteX26" fmla="*/ 5880035 w 5889610"/>
              <a:gd name="connsiteY26" fmla="*/ 2705404 h 4264910"/>
              <a:gd name="connsiteX27" fmla="*/ 5875857 w 5889610"/>
              <a:gd name="connsiteY27" fmla="*/ 2658166 h 4264910"/>
              <a:gd name="connsiteX28" fmla="*/ 5870938 w 5889610"/>
              <a:gd name="connsiteY28" fmla="*/ 2611145 h 4264910"/>
              <a:gd name="connsiteX29" fmla="*/ 5865285 w 5889610"/>
              <a:gd name="connsiteY29" fmla="*/ 2564347 h 4264910"/>
              <a:gd name="connsiteX30" fmla="*/ 5858904 w 5889610"/>
              <a:gd name="connsiteY30" fmla="*/ 2517779 h 4264910"/>
              <a:gd name="connsiteX31" fmla="*/ 5851799 w 5889610"/>
              <a:gd name="connsiteY31" fmla="*/ 2471445 h 4264910"/>
              <a:gd name="connsiteX32" fmla="*/ 5843978 w 5889610"/>
              <a:gd name="connsiteY32" fmla="*/ 2425352 h 4264910"/>
              <a:gd name="connsiteX33" fmla="*/ 5835445 w 5889610"/>
              <a:gd name="connsiteY33" fmla="*/ 2379505 h 4264910"/>
              <a:gd name="connsiteX34" fmla="*/ 5826208 w 5889610"/>
              <a:gd name="connsiteY34" fmla="*/ 2333911 h 4264910"/>
              <a:gd name="connsiteX35" fmla="*/ 5816271 w 5889610"/>
              <a:gd name="connsiteY35" fmla="*/ 2288575 h 4264910"/>
              <a:gd name="connsiteX36" fmla="*/ 5805641 w 5889610"/>
              <a:gd name="connsiteY36" fmla="*/ 2243504 h 4264910"/>
              <a:gd name="connsiteX37" fmla="*/ 5794323 w 5889610"/>
              <a:gd name="connsiteY37" fmla="*/ 2198702 h 4264910"/>
              <a:gd name="connsiteX38" fmla="*/ 5782324 w 5889610"/>
              <a:gd name="connsiteY38" fmla="*/ 2154177 h 4264910"/>
              <a:gd name="connsiteX39" fmla="*/ 5769649 w 5889610"/>
              <a:gd name="connsiteY39" fmla="*/ 2109933 h 4264910"/>
              <a:gd name="connsiteX40" fmla="*/ 5756304 w 5889610"/>
              <a:gd name="connsiteY40" fmla="*/ 2065977 h 4264910"/>
              <a:gd name="connsiteX41" fmla="*/ 5742296 w 5889610"/>
              <a:gd name="connsiteY41" fmla="*/ 2022315 h 4264910"/>
              <a:gd name="connsiteX42" fmla="*/ 5727629 w 5889610"/>
              <a:gd name="connsiteY42" fmla="*/ 1978952 h 4264910"/>
              <a:gd name="connsiteX43" fmla="*/ 5712311 w 5889610"/>
              <a:gd name="connsiteY43" fmla="*/ 1935894 h 4264910"/>
              <a:gd name="connsiteX44" fmla="*/ 5696346 w 5889610"/>
              <a:gd name="connsiteY44" fmla="*/ 1893147 h 4264910"/>
              <a:gd name="connsiteX45" fmla="*/ 5679741 w 5889610"/>
              <a:gd name="connsiteY45" fmla="*/ 1850718 h 4264910"/>
              <a:gd name="connsiteX46" fmla="*/ 5662502 w 5889610"/>
              <a:gd name="connsiteY46" fmla="*/ 1808611 h 4264910"/>
              <a:gd name="connsiteX47" fmla="*/ 5644634 w 5889610"/>
              <a:gd name="connsiteY47" fmla="*/ 1766833 h 4264910"/>
              <a:gd name="connsiteX48" fmla="*/ 5626144 w 5889610"/>
              <a:gd name="connsiteY48" fmla="*/ 1725390 h 4264910"/>
              <a:gd name="connsiteX49" fmla="*/ 5607037 w 5889610"/>
              <a:gd name="connsiteY49" fmla="*/ 1684288 h 4264910"/>
              <a:gd name="connsiteX50" fmla="*/ 5587319 w 5889610"/>
              <a:gd name="connsiteY50" fmla="*/ 1643531 h 4264910"/>
              <a:gd name="connsiteX51" fmla="*/ 5566997 w 5889610"/>
              <a:gd name="connsiteY51" fmla="*/ 1603127 h 4264910"/>
              <a:gd name="connsiteX52" fmla="*/ 5546075 w 5889610"/>
              <a:gd name="connsiteY52" fmla="*/ 1563082 h 4264910"/>
              <a:gd name="connsiteX53" fmla="*/ 5524560 w 5889610"/>
              <a:gd name="connsiteY53" fmla="*/ 1523400 h 4264910"/>
              <a:gd name="connsiteX54" fmla="*/ 5502458 w 5889610"/>
              <a:gd name="connsiteY54" fmla="*/ 1484088 h 4264910"/>
              <a:gd name="connsiteX55" fmla="*/ 5479775 w 5889610"/>
              <a:gd name="connsiteY55" fmla="*/ 1445152 h 4264910"/>
              <a:gd name="connsiteX56" fmla="*/ 5456516 w 5889610"/>
              <a:gd name="connsiteY56" fmla="*/ 1406597 h 4264910"/>
              <a:gd name="connsiteX57" fmla="*/ 5432688 w 5889610"/>
              <a:gd name="connsiteY57" fmla="*/ 1368430 h 4264910"/>
              <a:gd name="connsiteX58" fmla="*/ 5408296 w 5889610"/>
              <a:gd name="connsiteY58" fmla="*/ 1330656 h 4264910"/>
              <a:gd name="connsiteX59" fmla="*/ 5383346 w 5889610"/>
              <a:gd name="connsiteY59" fmla="*/ 1293282 h 4264910"/>
              <a:gd name="connsiteX60" fmla="*/ 5357845 w 5889610"/>
              <a:gd name="connsiteY60" fmla="*/ 1256313 h 4264910"/>
              <a:gd name="connsiteX61" fmla="*/ 5331797 w 5889610"/>
              <a:gd name="connsiteY61" fmla="*/ 1219754 h 4264910"/>
              <a:gd name="connsiteX62" fmla="*/ 5305210 w 5889610"/>
              <a:gd name="connsiteY62" fmla="*/ 1183613 h 4264910"/>
              <a:gd name="connsiteX63" fmla="*/ 5278088 w 5889610"/>
              <a:gd name="connsiteY63" fmla="*/ 1147894 h 4264910"/>
              <a:gd name="connsiteX64" fmla="*/ 5250438 w 5889610"/>
              <a:gd name="connsiteY64" fmla="*/ 1112604 h 4264910"/>
              <a:gd name="connsiteX65" fmla="*/ 5222266 w 5889610"/>
              <a:gd name="connsiteY65" fmla="*/ 1077748 h 4264910"/>
              <a:gd name="connsiteX66" fmla="*/ 5193577 w 5889610"/>
              <a:gd name="connsiteY66" fmla="*/ 1043332 h 4264910"/>
              <a:gd name="connsiteX67" fmla="*/ 5164378 w 5889610"/>
              <a:gd name="connsiteY67" fmla="*/ 1009363 h 4264910"/>
              <a:gd name="connsiteX68" fmla="*/ 5134674 w 5889610"/>
              <a:gd name="connsiteY68" fmla="*/ 975846 h 4264910"/>
              <a:gd name="connsiteX69" fmla="*/ 5104471 w 5889610"/>
              <a:gd name="connsiteY69" fmla="*/ 942787 h 4264910"/>
              <a:gd name="connsiteX70" fmla="*/ 5073776 w 5889610"/>
              <a:gd name="connsiteY70" fmla="*/ 910192 h 4264910"/>
              <a:gd name="connsiteX71" fmla="*/ 5042593 w 5889610"/>
              <a:gd name="connsiteY71" fmla="*/ 878066 h 4264910"/>
              <a:gd name="connsiteX72" fmla="*/ 5010930 w 5889610"/>
              <a:gd name="connsiteY72" fmla="*/ 846416 h 4264910"/>
              <a:gd name="connsiteX73" fmla="*/ 4978791 w 5889610"/>
              <a:gd name="connsiteY73" fmla="*/ 815247 h 4264910"/>
              <a:gd name="connsiteX74" fmla="*/ 4946183 w 5889610"/>
              <a:gd name="connsiteY74" fmla="*/ 784566 h 4264910"/>
              <a:gd name="connsiteX75" fmla="*/ 4913111 w 5889610"/>
              <a:gd name="connsiteY75" fmla="*/ 754377 h 4264910"/>
              <a:gd name="connsiteX76" fmla="*/ 4879582 w 5889610"/>
              <a:gd name="connsiteY76" fmla="*/ 724688 h 4264910"/>
              <a:gd name="connsiteX77" fmla="*/ 4845602 w 5889610"/>
              <a:gd name="connsiteY77" fmla="*/ 695504 h 4264910"/>
              <a:gd name="connsiteX78" fmla="*/ 4811176 w 5889610"/>
              <a:gd name="connsiteY78" fmla="*/ 666831 h 4264910"/>
              <a:gd name="connsiteX79" fmla="*/ 4776309 w 5889610"/>
              <a:gd name="connsiteY79" fmla="*/ 638674 h 4264910"/>
              <a:gd name="connsiteX80" fmla="*/ 4741009 w 5889610"/>
              <a:gd name="connsiteY80" fmla="*/ 611040 h 4264910"/>
              <a:gd name="connsiteX81" fmla="*/ 4705281 w 5889610"/>
              <a:gd name="connsiteY81" fmla="*/ 583934 h 4264910"/>
              <a:gd name="connsiteX82" fmla="*/ 4669131 w 5889610"/>
              <a:gd name="connsiteY82" fmla="*/ 557362 h 4264910"/>
              <a:gd name="connsiteX83" fmla="*/ 4632565 w 5889610"/>
              <a:gd name="connsiteY83" fmla="*/ 531331 h 4264910"/>
              <a:gd name="connsiteX84" fmla="*/ 4595588 w 5889610"/>
              <a:gd name="connsiteY84" fmla="*/ 505845 h 4264910"/>
              <a:gd name="connsiteX85" fmla="*/ 4558207 w 5889610"/>
              <a:gd name="connsiteY85" fmla="*/ 480912 h 4264910"/>
              <a:gd name="connsiteX86" fmla="*/ 4520427 w 5889610"/>
              <a:gd name="connsiteY86" fmla="*/ 456536 h 4264910"/>
              <a:gd name="connsiteX87" fmla="*/ 4482255 w 5889610"/>
              <a:gd name="connsiteY87" fmla="*/ 432724 h 4264910"/>
              <a:gd name="connsiteX88" fmla="*/ 4443696 w 5889610"/>
              <a:gd name="connsiteY88" fmla="*/ 409481 h 4264910"/>
              <a:gd name="connsiteX89" fmla="*/ 4404756 w 5889610"/>
              <a:gd name="connsiteY89" fmla="*/ 386814 h 4264910"/>
              <a:gd name="connsiteX90" fmla="*/ 4365441 w 5889610"/>
              <a:gd name="connsiteY90" fmla="*/ 364727 h 4264910"/>
              <a:gd name="connsiteX91" fmla="*/ 4325757 w 5889610"/>
              <a:gd name="connsiteY91" fmla="*/ 343228 h 4264910"/>
              <a:gd name="connsiteX92" fmla="*/ 4285710 w 5889610"/>
              <a:gd name="connsiteY92" fmla="*/ 322322 h 4264910"/>
              <a:gd name="connsiteX93" fmla="*/ 4245306 w 5889610"/>
              <a:gd name="connsiteY93" fmla="*/ 302015 h 4264910"/>
              <a:gd name="connsiteX94" fmla="*/ 4204550 w 5889610"/>
              <a:gd name="connsiteY94" fmla="*/ 282313 h 4264910"/>
              <a:gd name="connsiteX95" fmla="*/ 4163449 w 5889610"/>
              <a:gd name="connsiteY95" fmla="*/ 263221 h 4264910"/>
              <a:gd name="connsiteX96" fmla="*/ 4122008 w 5889610"/>
              <a:gd name="connsiteY96" fmla="*/ 244746 h 4264910"/>
              <a:gd name="connsiteX97" fmla="*/ 4080233 w 5889610"/>
              <a:gd name="connsiteY97" fmla="*/ 226893 h 4264910"/>
              <a:gd name="connsiteX98" fmla="*/ 4038131 w 5889610"/>
              <a:gd name="connsiteY98" fmla="*/ 209668 h 4264910"/>
              <a:gd name="connsiteX99" fmla="*/ 3995707 w 5889610"/>
              <a:gd name="connsiteY99" fmla="*/ 193077 h 4264910"/>
              <a:gd name="connsiteX100" fmla="*/ 3952967 w 5889610"/>
              <a:gd name="connsiteY100" fmla="*/ 177126 h 4264910"/>
              <a:gd name="connsiteX101" fmla="*/ 3909916 w 5889610"/>
              <a:gd name="connsiteY101" fmla="*/ 161821 h 4264910"/>
              <a:gd name="connsiteX102" fmla="*/ 3866562 w 5889610"/>
              <a:gd name="connsiteY102" fmla="*/ 147168 h 4264910"/>
              <a:gd name="connsiteX103" fmla="*/ 3822909 w 5889610"/>
              <a:gd name="connsiteY103" fmla="*/ 133172 h 4264910"/>
              <a:gd name="connsiteX104" fmla="*/ 3778964 w 5889610"/>
              <a:gd name="connsiteY104" fmla="*/ 119840 h 4264910"/>
              <a:gd name="connsiteX105" fmla="*/ 3734732 w 5889610"/>
              <a:gd name="connsiteY105" fmla="*/ 107177 h 4264910"/>
              <a:gd name="connsiteX106" fmla="*/ 3690220 w 5889610"/>
              <a:gd name="connsiteY106" fmla="*/ 95189 h 4264910"/>
              <a:gd name="connsiteX107" fmla="*/ 3645433 w 5889610"/>
              <a:gd name="connsiteY107" fmla="*/ 83883 h 4264910"/>
              <a:gd name="connsiteX108" fmla="*/ 3600377 w 5889610"/>
              <a:gd name="connsiteY108" fmla="*/ 73263 h 4264910"/>
              <a:gd name="connsiteX109" fmla="*/ 3555058 w 5889610"/>
              <a:gd name="connsiteY109" fmla="*/ 63336 h 4264910"/>
              <a:gd name="connsiteX110" fmla="*/ 3509482 w 5889610"/>
              <a:gd name="connsiteY110" fmla="*/ 54107 h 4264910"/>
              <a:gd name="connsiteX111" fmla="*/ 3463655 w 5889610"/>
              <a:gd name="connsiteY111" fmla="*/ 45584 h 4264910"/>
              <a:gd name="connsiteX112" fmla="*/ 3417583 w 5889610"/>
              <a:gd name="connsiteY112" fmla="*/ 37770 h 4264910"/>
              <a:gd name="connsiteX113" fmla="*/ 3371271 w 5889610"/>
              <a:gd name="connsiteY113" fmla="*/ 30673 h 4264910"/>
              <a:gd name="connsiteX114" fmla="*/ 3324726 w 5889610"/>
              <a:gd name="connsiteY114" fmla="*/ 24298 h 4264910"/>
              <a:gd name="connsiteX115" fmla="*/ 3277953 w 5889610"/>
              <a:gd name="connsiteY115" fmla="*/ 18651 h 4264910"/>
              <a:gd name="connsiteX116" fmla="*/ 3230959 w 5889610"/>
              <a:gd name="connsiteY116" fmla="*/ 13738 h 4264910"/>
              <a:gd name="connsiteX117" fmla="*/ 3183749 w 5889610"/>
              <a:gd name="connsiteY117" fmla="*/ 9564 h 4264910"/>
              <a:gd name="connsiteX118" fmla="*/ 3136329 w 5889610"/>
              <a:gd name="connsiteY118" fmla="*/ 6137 h 4264910"/>
              <a:gd name="connsiteX119" fmla="*/ 3088705 w 5889610"/>
              <a:gd name="connsiteY119" fmla="*/ 3461 h 4264910"/>
              <a:gd name="connsiteX120" fmla="*/ 3040883 w 5889610"/>
              <a:gd name="connsiteY120" fmla="*/ 1542 h 4264910"/>
              <a:gd name="connsiteX121" fmla="*/ 2992869 w 5889610"/>
              <a:gd name="connsiteY121" fmla="*/ 386 h 4264910"/>
              <a:gd name="connsiteX122" fmla="*/ 2944668 w 5889610"/>
              <a:gd name="connsiteY122" fmla="*/ 0 h 4264910"/>
              <a:gd name="connsiteX123" fmla="*/ 2896458 w 5889610"/>
              <a:gd name="connsiteY123" fmla="*/ 386 h 4264910"/>
              <a:gd name="connsiteX124" fmla="*/ 2848435 w 5889610"/>
              <a:gd name="connsiteY124" fmla="*/ 1542 h 4264910"/>
              <a:gd name="connsiteX125" fmla="*/ 2800604 w 5889610"/>
              <a:gd name="connsiteY125" fmla="*/ 3461 h 4264910"/>
              <a:gd name="connsiteX126" fmla="*/ 2752972 w 5889610"/>
              <a:gd name="connsiteY126" fmla="*/ 6137 h 4264910"/>
              <a:gd name="connsiteX127" fmla="*/ 2705544 w 5889610"/>
              <a:gd name="connsiteY127" fmla="*/ 9564 h 4264910"/>
              <a:gd name="connsiteX128" fmla="*/ 2658327 w 5889610"/>
              <a:gd name="connsiteY128" fmla="*/ 13738 h 4264910"/>
              <a:gd name="connsiteX129" fmla="*/ 2611326 w 5889610"/>
              <a:gd name="connsiteY129" fmla="*/ 18651 h 4264910"/>
              <a:gd name="connsiteX130" fmla="*/ 2564548 w 5889610"/>
              <a:gd name="connsiteY130" fmla="*/ 24298 h 4264910"/>
              <a:gd name="connsiteX131" fmla="*/ 2517997 w 5889610"/>
              <a:gd name="connsiteY131" fmla="*/ 30673 h 4264910"/>
              <a:gd name="connsiteX132" fmla="*/ 2471680 w 5889610"/>
              <a:gd name="connsiteY132" fmla="*/ 37770 h 4264910"/>
              <a:gd name="connsiteX133" fmla="*/ 2425603 w 5889610"/>
              <a:gd name="connsiteY133" fmla="*/ 45584 h 4264910"/>
              <a:gd name="connsiteX134" fmla="*/ 2379772 w 5889610"/>
              <a:gd name="connsiteY134" fmla="*/ 54107 h 4264910"/>
              <a:gd name="connsiteX135" fmla="*/ 2334192 w 5889610"/>
              <a:gd name="connsiteY135" fmla="*/ 63336 h 4264910"/>
              <a:gd name="connsiteX136" fmla="*/ 2288870 w 5889610"/>
              <a:gd name="connsiteY136" fmla="*/ 73263 h 4264910"/>
              <a:gd name="connsiteX137" fmla="*/ 2243811 w 5889610"/>
              <a:gd name="connsiteY137" fmla="*/ 83883 h 4264910"/>
              <a:gd name="connsiteX138" fmla="*/ 2199022 w 5889610"/>
              <a:gd name="connsiteY138" fmla="*/ 95189 h 4264910"/>
              <a:gd name="connsiteX139" fmla="*/ 2154507 w 5889610"/>
              <a:gd name="connsiteY139" fmla="*/ 107177 h 4264910"/>
              <a:gd name="connsiteX140" fmla="*/ 2110274 w 5889610"/>
              <a:gd name="connsiteY140" fmla="*/ 119840 h 4264910"/>
              <a:gd name="connsiteX141" fmla="*/ 2066327 w 5889610"/>
              <a:gd name="connsiteY141" fmla="*/ 133172 h 4264910"/>
              <a:gd name="connsiteX142" fmla="*/ 2022674 w 5889610"/>
              <a:gd name="connsiteY142" fmla="*/ 147168 h 4264910"/>
              <a:gd name="connsiteX143" fmla="*/ 1979319 w 5889610"/>
              <a:gd name="connsiteY143" fmla="*/ 161821 h 4264910"/>
              <a:gd name="connsiteX144" fmla="*/ 1936268 w 5889610"/>
              <a:gd name="connsiteY144" fmla="*/ 177126 h 4264910"/>
              <a:gd name="connsiteX145" fmla="*/ 1893528 w 5889610"/>
              <a:gd name="connsiteY145" fmla="*/ 193077 h 4264910"/>
              <a:gd name="connsiteX146" fmla="*/ 1851105 w 5889610"/>
              <a:gd name="connsiteY146" fmla="*/ 209668 h 4264910"/>
              <a:gd name="connsiteX147" fmla="*/ 1809003 w 5889610"/>
              <a:gd name="connsiteY147" fmla="*/ 226893 h 4264910"/>
              <a:gd name="connsiteX148" fmla="*/ 1767230 w 5889610"/>
              <a:gd name="connsiteY148" fmla="*/ 244746 h 4264910"/>
              <a:gd name="connsiteX149" fmla="*/ 1725791 w 5889610"/>
              <a:gd name="connsiteY149" fmla="*/ 263221 h 4264910"/>
              <a:gd name="connsiteX150" fmla="*/ 1684691 w 5889610"/>
              <a:gd name="connsiteY150" fmla="*/ 282313 h 4264910"/>
              <a:gd name="connsiteX151" fmla="*/ 1643938 w 5889610"/>
              <a:gd name="connsiteY151" fmla="*/ 302015 h 4264910"/>
              <a:gd name="connsiteX152" fmla="*/ 1603536 w 5889610"/>
              <a:gd name="connsiteY152" fmla="*/ 322322 h 4264910"/>
              <a:gd name="connsiteX153" fmla="*/ 1563492 w 5889610"/>
              <a:gd name="connsiteY153" fmla="*/ 343228 h 4264910"/>
              <a:gd name="connsiteX154" fmla="*/ 1523811 w 5889610"/>
              <a:gd name="connsiteY154" fmla="*/ 364727 h 4264910"/>
              <a:gd name="connsiteX155" fmla="*/ 1484499 w 5889610"/>
              <a:gd name="connsiteY155" fmla="*/ 386814 h 4264910"/>
              <a:gd name="connsiteX156" fmla="*/ 1445563 w 5889610"/>
              <a:gd name="connsiteY156" fmla="*/ 409481 h 4264910"/>
              <a:gd name="connsiteX157" fmla="*/ 1407007 w 5889610"/>
              <a:gd name="connsiteY157" fmla="*/ 432724 h 4264910"/>
              <a:gd name="connsiteX158" fmla="*/ 1368839 w 5889610"/>
              <a:gd name="connsiteY158" fmla="*/ 456536 h 4264910"/>
              <a:gd name="connsiteX159" fmla="*/ 1331064 w 5889610"/>
              <a:gd name="connsiteY159" fmla="*/ 480912 h 4264910"/>
              <a:gd name="connsiteX160" fmla="*/ 1293687 w 5889610"/>
              <a:gd name="connsiteY160" fmla="*/ 505845 h 4264910"/>
              <a:gd name="connsiteX161" fmla="*/ 1256715 w 5889610"/>
              <a:gd name="connsiteY161" fmla="*/ 531331 h 4264910"/>
              <a:gd name="connsiteX162" fmla="*/ 1220154 w 5889610"/>
              <a:gd name="connsiteY162" fmla="*/ 557362 h 4264910"/>
              <a:gd name="connsiteX163" fmla="*/ 1184009 w 5889610"/>
              <a:gd name="connsiteY163" fmla="*/ 583934 h 4264910"/>
              <a:gd name="connsiteX164" fmla="*/ 1148286 w 5889610"/>
              <a:gd name="connsiteY164" fmla="*/ 611040 h 4264910"/>
              <a:gd name="connsiteX165" fmla="*/ 1112991 w 5889610"/>
              <a:gd name="connsiteY165" fmla="*/ 638674 h 4264910"/>
              <a:gd name="connsiteX166" fmla="*/ 1078131 w 5889610"/>
              <a:gd name="connsiteY166" fmla="*/ 666831 h 4264910"/>
              <a:gd name="connsiteX167" fmla="*/ 1043710 w 5889610"/>
              <a:gd name="connsiteY167" fmla="*/ 695504 h 4264910"/>
              <a:gd name="connsiteX168" fmla="*/ 1009736 w 5889610"/>
              <a:gd name="connsiteY168" fmla="*/ 724688 h 4264910"/>
              <a:gd name="connsiteX169" fmla="*/ 976213 w 5889610"/>
              <a:gd name="connsiteY169" fmla="*/ 754377 h 4264910"/>
              <a:gd name="connsiteX170" fmla="*/ 943148 w 5889610"/>
              <a:gd name="connsiteY170" fmla="*/ 784566 h 4264910"/>
              <a:gd name="connsiteX171" fmla="*/ 910546 w 5889610"/>
              <a:gd name="connsiteY171" fmla="*/ 815247 h 4264910"/>
              <a:gd name="connsiteX172" fmla="*/ 878413 w 5889610"/>
              <a:gd name="connsiteY172" fmla="*/ 846416 h 4264910"/>
              <a:gd name="connsiteX173" fmla="*/ 846756 w 5889610"/>
              <a:gd name="connsiteY173" fmla="*/ 878066 h 4264910"/>
              <a:gd name="connsiteX174" fmla="*/ 815581 w 5889610"/>
              <a:gd name="connsiteY174" fmla="*/ 910192 h 4264910"/>
              <a:gd name="connsiteX175" fmla="*/ 784892 w 5889610"/>
              <a:gd name="connsiteY175" fmla="*/ 942787 h 4264910"/>
              <a:gd name="connsiteX176" fmla="*/ 754696 w 5889610"/>
              <a:gd name="connsiteY176" fmla="*/ 975846 h 4264910"/>
              <a:gd name="connsiteX177" fmla="*/ 724999 w 5889610"/>
              <a:gd name="connsiteY177" fmla="*/ 1009363 h 4264910"/>
              <a:gd name="connsiteX178" fmla="*/ 695807 w 5889610"/>
              <a:gd name="connsiteY178" fmla="*/ 1043332 h 4264910"/>
              <a:gd name="connsiteX179" fmla="*/ 667125 w 5889610"/>
              <a:gd name="connsiteY179" fmla="*/ 1077748 h 4264910"/>
              <a:gd name="connsiteX180" fmla="*/ 638960 w 5889610"/>
              <a:gd name="connsiteY180" fmla="*/ 1112604 h 4264910"/>
              <a:gd name="connsiteX181" fmla="*/ 611317 w 5889610"/>
              <a:gd name="connsiteY181" fmla="*/ 1147894 h 4264910"/>
              <a:gd name="connsiteX182" fmla="*/ 584202 w 5889610"/>
              <a:gd name="connsiteY182" fmla="*/ 1183613 h 4264910"/>
              <a:gd name="connsiteX183" fmla="*/ 557622 w 5889610"/>
              <a:gd name="connsiteY183" fmla="*/ 1219754 h 4264910"/>
              <a:gd name="connsiteX184" fmla="*/ 531582 w 5889610"/>
              <a:gd name="connsiteY184" fmla="*/ 1256313 h 4264910"/>
              <a:gd name="connsiteX185" fmla="*/ 506087 w 5889610"/>
              <a:gd name="connsiteY185" fmla="*/ 1293282 h 4264910"/>
              <a:gd name="connsiteX186" fmla="*/ 481145 w 5889610"/>
              <a:gd name="connsiteY186" fmla="*/ 1330656 h 4264910"/>
              <a:gd name="connsiteX187" fmla="*/ 456760 w 5889610"/>
              <a:gd name="connsiteY187" fmla="*/ 1368430 h 4264910"/>
              <a:gd name="connsiteX188" fmla="*/ 432939 w 5889610"/>
              <a:gd name="connsiteY188" fmla="*/ 1406597 h 4264910"/>
              <a:gd name="connsiteX189" fmla="*/ 409687 w 5889610"/>
              <a:gd name="connsiteY189" fmla="*/ 1445152 h 4264910"/>
              <a:gd name="connsiteX190" fmla="*/ 387011 w 5889610"/>
              <a:gd name="connsiteY190" fmla="*/ 1484088 h 4264910"/>
              <a:gd name="connsiteX191" fmla="*/ 364915 w 5889610"/>
              <a:gd name="connsiteY191" fmla="*/ 1523400 h 4264910"/>
              <a:gd name="connsiteX192" fmla="*/ 343407 w 5889610"/>
              <a:gd name="connsiteY192" fmla="*/ 1563082 h 4264910"/>
              <a:gd name="connsiteX193" fmla="*/ 322492 w 5889610"/>
              <a:gd name="connsiteY193" fmla="*/ 1603127 h 4264910"/>
              <a:gd name="connsiteX194" fmla="*/ 302176 w 5889610"/>
              <a:gd name="connsiteY194" fmla="*/ 1643531 h 4264910"/>
              <a:gd name="connsiteX195" fmla="*/ 282465 w 5889610"/>
              <a:gd name="connsiteY195" fmla="*/ 1684288 h 4264910"/>
              <a:gd name="connsiteX196" fmla="*/ 263365 w 5889610"/>
              <a:gd name="connsiteY196" fmla="*/ 1725390 h 4264910"/>
              <a:gd name="connsiteX197" fmla="*/ 244881 w 5889610"/>
              <a:gd name="connsiteY197" fmla="*/ 1766833 h 4264910"/>
              <a:gd name="connsiteX198" fmla="*/ 227019 w 5889610"/>
              <a:gd name="connsiteY198" fmla="*/ 1808611 h 4264910"/>
              <a:gd name="connsiteX199" fmla="*/ 209786 w 5889610"/>
              <a:gd name="connsiteY199" fmla="*/ 1850718 h 4264910"/>
              <a:gd name="connsiteX200" fmla="*/ 193187 w 5889610"/>
              <a:gd name="connsiteY200" fmla="*/ 1893147 h 4264910"/>
              <a:gd name="connsiteX201" fmla="*/ 177228 w 5889610"/>
              <a:gd name="connsiteY201" fmla="*/ 1935894 h 4264910"/>
              <a:gd name="connsiteX202" fmla="*/ 161915 w 5889610"/>
              <a:gd name="connsiteY202" fmla="*/ 1978952 h 4264910"/>
              <a:gd name="connsiteX203" fmla="*/ 147254 w 5889610"/>
              <a:gd name="connsiteY203" fmla="*/ 2022315 h 4264910"/>
              <a:gd name="connsiteX204" fmla="*/ 133251 w 5889610"/>
              <a:gd name="connsiteY204" fmla="*/ 2065977 h 4264910"/>
              <a:gd name="connsiteX205" fmla="*/ 119912 w 5889610"/>
              <a:gd name="connsiteY205" fmla="*/ 2109933 h 4264910"/>
              <a:gd name="connsiteX206" fmla="*/ 107242 w 5889610"/>
              <a:gd name="connsiteY206" fmla="*/ 2154177 h 4264910"/>
              <a:gd name="connsiteX207" fmla="*/ 95247 w 5889610"/>
              <a:gd name="connsiteY207" fmla="*/ 2198702 h 4264910"/>
              <a:gd name="connsiteX208" fmla="*/ 83934 w 5889610"/>
              <a:gd name="connsiteY208" fmla="*/ 2243504 h 4264910"/>
              <a:gd name="connsiteX209" fmla="*/ 73308 w 5889610"/>
              <a:gd name="connsiteY209" fmla="*/ 2288575 h 4264910"/>
              <a:gd name="connsiteX210" fmla="*/ 63375 w 5889610"/>
              <a:gd name="connsiteY210" fmla="*/ 2333911 h 4264910"/>
              <a:gd name="connsiteX211" fmla="*/ 54141 w 5889610"/>
              <a:gd name="connsiteY211" fmla="*/ 2379505 h 4264910"/>
              <a:gd name="connsiteX212" fmla="*/ 45613 w 5889610"/>
              <a:gd name="connsiteY212" fmla="*/ 2425352 h 4264910"/>
              <a:gd name="connsiteX213" fmla="*/ 37794 w 5889610"/>
              <a:gd name="connsiteY213" fmla="*/ 2471445 h 4264910"/>
              <a:gd name="connsiteX214" fmla="*/ 30693 w 5889610"/>
              <a:gd name="connsiteY214" fmla="*/ 2517779 h 4264910"/>
              <a:gd name="connsiteX215" fmla="*/ 24314 w 5889610"/>
              <a:gd name="connsiteY215" fmla="*/ 2564347 h 4264910"/>
              <a:gd name="connsiteX216" fmla="*/ 18663 w 5889610"/>
              <a:gd name="connsiteY216" fmla="*/ 2611145 h 4264910"/>
              <a:gd name="connsiteX217" fmla="*/ 13747 w 5889610"/>
              <a:gd name="connsiteY217" fmla="*/ 2658166 h 4264910"/>
              <a:gd name="connsiteX218" fmla="*/ 9571 w 5889610"/>
              <a:gd name="connsiteY218" fmla="*/ 2705404 h 4264910"/>
              <a:gd name="connsiteX219" fmla="*/ 6141 w 5889610"/>
              <a:gd name="connsiteY219" fmla="*/ 2752853 h 4264910"/>
              <a:gd name="connsiteX220" fmla="*/ 3463 w 5889610"/>
              <a:gd name="connsiteY220" fmla="*/ 2800508 h 4264910"/>
              <a:gd name="connsiteX221" fmla="*/ 1543 w 5889610"/>
              <a:gd name="connsiteY221" fmla="*/ 2848362 h 4264910"/>
              <a:gd name="connsiteX222" fmla="*/ 386 w 5889610"/>
              <a:gd name="connsiteY222" fmla="*/ 2896411 h 4264910"/>
              <a:gd name="connsiteX223" fmla="*/ 0 w 5889610"/>
              <a:gd name="connsiteY223"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696346 w 5889610"/>
              <a:gd name="connsiteY0" fmla="*/ 3996315 h 4264910"/>
              <a:gd name="connsiteX1" fmla="*/ 5727629 w 5889610"/>
              <a:gd name="connsiteY1" fmla="*/ 3910499 h 4264910"/>
              <a:gd name="connsiteX2" fmla="*/ 5742296 w 5889610"/>
              <a:gd name="connsiteY2" fmla="*/ 3867130 h 4264910"/>
              <a:gd name="connsiteX3" fmla="*/ 5756304 w 5889610"/>
              <a:gd name="connsiteY3" fmla="*/ 3823462 h 4264910"/>
              <a:gd name="connsiteX4" fmla="*/ 5769649 w 5889610"/>
              <a:gd name="connsiteY4" fmla="*/ 3779500 h 4264910"/>
              <a:gd name="connsiteX5" fmla="*/ 5782324 w 5889610"/>
              <a:gd name="connsiteY5" fmla="*/ 3735250 h 4264910"/>
              <a:gd name="connsiteX6" fmla="*/ 5794323 w 5889610"/>
              <a:gd name="connsiteY6" fmla="*/ 3690717 h 4264910"/>
              <a:gd name="connsiteX7" fmla="*/ 5826208 w 5889610"/>
              <a:gd name="connsiteY7" fmla="*/ 3555488 h 4264910"/>
              <a:gd name="connsiteX8" fmla="*/ 5835445 w 5889610"/>
              <a:gd name="connsiteY8" fmla="*/ 3509887 h 4264910"/>
              <a:gd name="connsiteX9" fmla="*/ 5843978 w 5889610"/>
              <a:gd name="connsiteY9" fmla="*/ 3464033 h 4264910"/>
              <a:gd name="connsiteX10" fmla="*/ 5851799 w 5889610"/>
              <a:gd name="connsiteY10" fmla="*/ 3417933 h 4264910"/>
              <a:gd name="connsiteX11" fmla="*/ 5858904 w 5889610"/>
              <a:gd name="connsiteY11" fmla="*/ 3371591 h 4264910"/>
              <a:gd name="connsiteX12" fmla="*/ 5865285 w 5889610"/>
              <a:gd name="connsiteY12" fmla="*/ 3325015 h 4264910"/>
              <a:gd name="connsiteX13" fmla="*/ 5870938 w 5889610"/>
              <a:gd name="connsiteY13" fmla="*/ 3278209 h 4264910"/>
              <a:gd name="connsiteX14" fmla="*/ 5875857 w 5889610"/>
              <a:gd name="connsiteY14" fmla="*/ 3231180 h 4264910"/>
              <a:gd name="connsiteX15" fmla="*/ 5880035 w 5889610"/>
              <a:gd name="connsiteY15" fmla="*/ 3183934 h 4264910"/>
              <a:gd name="connsiteX16" fmla="*/ 5883466 w 5889610"/>
              <a:gd name="connsiteY16" fmla="*/ 3136476 h 4264910"/>
              <a:gd name="connsiteX17" fmla="*/ 5886146 w 5889610"/>
              <a:gd name="connsiteY17" fmla="*/ 3088813 h 4264910"/>
              <a:gd name="connsiteX18" fmla="*/ 5888067 w 5889610"/>
              <a:gd name="connsiteY18" fmla="*/ 3040949 h 4264910"/>
              <a:gd name="connsiteX19" fmla="*/ 5889223 w 5889610"/>
              <a:gd name="connsiteY19" fmla="*/ 2992892 h 4264910"/>
              <a:gd name="connsiteX20" fmla="*/ 5889610 w 5889610"/>
              <a:gd name="connsiteY20" fmla="*/ 2944647 h 4264910"/>
              <a:gd name="connsiteX21" fmla="*/ 5889223 w 5889610"/>
              <a:gd name="connsiteY21" fmla="*/ 2896411 h 4264910"/>
              <a:gd name="connsiteX22" fmla="*/ 5888067 w 5889610"/>
              <a:gd name="connsiteY22" fmla="*/ 2848362 h 4264910"/>
              <a:gd name="connsiteX23" fmla="*/ 5886146 w 5889610"/>
              <a:gd name="connsiteY23" fmla="*/ 2800508 h 4264910"/>
              <a:gd name="connsiteX24" fmla="*/ 5883466 w 5889610"/>
              <a:gd name="connsiteY24" fmla="*/ 2752853 h 4264910"/>
              <a:gd name="connsiteX25" fmla="*/ 5880035 w 5889610"/>
              <a:gd name="connsiteY25" fmla="*/ 2705404 h 4264910"/>
              <a:gd name="connsiteX26" fmla="*/ 5875857 w 5889610"/>
              <a:gd name="connsiteY26" fmla="*/ 2658166 h 4264910"/>
              <a:gd name="connsiteX27" fmla="*/ 5870938 w 5889610"/>
              <a:gd name="connsiteY27" fmla="*/ 2611145 h 4264910"/>
              <a:gd name="connsiteX28" fmla="*/ 5865285 w 5889610"/>
              <a:gd name="connsiteY28" fmla="*/ 2564347 h 4264910"/>
              <a:gd name="connsiteX29" fmla="*/ 5858904 w 5889610"/>
              <a:gd name="connsiteY29" fmla="*/ 2517779 h 4264910"/>
              <a:gd name="connsiteX30" fmla="*/ 5851799 w 5889610"/>
              <a:gd name="connsiteY30" fmla="*/ 2471445 h 4264910"/>
              <a:gd name="connsiteX31" fmla="*/ 5843978 w 5889610"/>
              <a:gd name="connsiteY31" fmla="*/ 2425352 h 4264910"/>
              <a:gd name="connsiteX32" fmla="*/ 5835445 w 5889610"/>
              <a:gd name="connsiteY32" fmla="*/ 2379505 h 4264910"/>
              <a:gd name="connsiteX33" fmla="*/ 5826208 w 5889610"/>
              <a:gd name="connsiteY33" fmla="*/ 2333911 h 4264910"/>
              <a:gd name="connsiteX34" fmla="*/ 5816271 w 5889610"/>
              <a:gd name="connsiteY34" fmla="*/ 2288575 h 4264910"/>
              <a:gd name="connsiteX35" fmla="*/ 5805641 w 5889610"/>
              <a:gd name="connsiteY35" fmla="*/ 2243504 h 4264910"/>
              <a:gd name="connsiteX36" fmla="*/ 5794323 w 5889610"/>
              <a:gd name="connsiteY36" fmla="*/ 2198702 h 4264910"/>
              <a:gd name="connsiteX37" fmla="*/ 5782324 w 5889610"/>
              <a:gd name="connsiteY37" fmla="*/ 2154177 h 4264910"/>
              <a:gd name="connsiteX38" fmla="*/ 5769649 w 5889610"/>
              <a:gd name="connsiteY38" fmla="*/ 2109933 h 4264910"/>
              <a:gd name="connsiteX39" fmla="*/ 5756304 w 5889610"/>
              <a:gd name="connsiteY39" fmla="*/ 2065977 h 4264910"/>
              <a:gd name="connsiteX40" fmla="*/ 5742296 w 5889610"/>
              <a:gd name="connsiteY40" fmla="*/ 2022315 h 4264910"/>
              <a:gd name="connsiteX41" fmla="*/ 5727629 w 5889610"/>
              <a:gd name="connsiteY41" fmla="*/ 1978952 h 4264910"/>
              <a:gd name="connsiteX42" fmla="*/ 5712311 w 5889610"/>
              <a:gd name="connsiteY42" fmla="*/ 1935894 h 4264910"/>
              <a:gd name="connsiteX43" fmla="*/ 5696346 w 5889610"/>
              <a:gd name="connsiteY43" fmla="*/ 1893147 h 4264910"/>
              <a:gd name="connsiteX44" fmla="*/ 5679741 w 5889610"/>
              <a:gd name="connsiteY44" fmla="*/ 1850718 h 4264910"/>
              <a:gd name="connsiteX45" fmla="*/ 5662502 w 5889610"/>
              <a:gd name="connsiteY45" fmla="*/ 1808611 h 4264910"/>
              <a:gd name="connsiteX46" fmla="*/ 5644634 w 5889610"/>
              <a:gd name="connsiteY46" fmla="*/ 1766833 h 4264910"/>
              <a:gd name="connsiteX47" fmla="*/ 5626144 w 5889610"/>
              <a:gd name="connsiteY47" fmla="*/ 1725390 h 4264910"/>
              <a:gd name="connsiteX48" fmla="*/ 5607037 w 5889610"/>
              <a:gd name="connsiteY48" fmla="*/ 1684288 h 4264910"/>
              <a:gd name="connsiteX49" fmla="*/ 5587319 w 5889610"/>
              <a:gd name="connsiteY49" fmla="*/ 1643531 h 4264910"/>
              <a:gd name="connsiteX50" fmla="*/ 5566997 w 5889610"/>
              <a:gd name="connsiteY50" fmla="*/ 1603127 h 4264910"/>
              <a:gd name="connsiteX51" fmla="*/ 5546075 w 5889610"/>
              <a:gd name="connsiteY51" fmla="*/ 1563082 h 4264910"/>
              <a:gd name="connsiteX52" fmla="*/ 5524560 w 5889610"/>
              <a:gd name="connsiteY52" fmla="*/ 1523400 h 4264910"/>
              <a:gd name="connsiteX53" fmla="*/ 5502458 w 5889610"/>
              <a:gd name="connsiteY53" fmla="*/ 1484088 h 4264910"/>
              <a:gd name="connsiteX54" fmla="*/ 5479775 w 5889610"/>
              <a:gd name="connsiteY54" fmla="*/ 1445152 h 4264910"/>
              <a:gd name="connsiteX55" fmla="*/ 5456516 w 5889610"/>
              <a:gd name="connsiteY55" fmla="*/ 1406597 h 4264910"/>
              <a:gd name="connsiteX56" fmla="*/ 5432688 w 5889610"/>
              <a:gd name="connsiteY56" fmla="*/ 1368430 h 4264910"/>
              <a:gd name="connsiteX57" fmla="*/ 5408296 w 5889610"/>
              <a:gd name="connsiteY57" fmla="*/ 1330656 h 4264910"/>
              <a:gd name="connsiteX58" fmla="*/ 5383346 w 5889610"/>
              <a:gd name="connsiteY58" fmla="*/ 1293282 h 4264910"/>
              <a:gd name="connsiteX59" fmla="*/ 5357845 w 5889610"/>
              <a:gd name="connsiteY59" fmla="*/ 1256313 h 4264910"/>
              <a:gd name="connsiteX60" fmla="*/ 5331797 w 5889610"/>
              <a:gd name="connsiteY60" fmla="*/ 1219754 h 4264910"/>
              <a:gd name="connsiteX61" fmla="*/ 5305210 w 5889610"/>
              <a:gd name="connsiteY61" fmla="*/ 1183613 h 4264910"/>
              <a:gd name="connsiteX62" fmla="*/ 5278088 w 5889610"/>
              <a:gd name="connsiteY62" fmla="*/ 1147894 h 4264910"/>
              <a:gd name="connsiteX63" fmla="*/ 5250438 w 5889610"/>
              <a:gd name="connsiteY63" fmla="*/ 1112604 h 4264910"/>
              <a:gd name="connsiteX64" fmla="*/ 5222266 w 5889610"/>
              <a:gd name="connsiteY64" fmla="*/ 1077748 h 4264910"/>
              <a:gd name="connsiteX65" fmla="*/ 5193577 w 5889610"/>
              <a:gd name="connsiteY65" fmla="*/ 1043332 h 4264910"/>
              <a:gd name="connsiteX66" fmla="*/ 5164378 w 5889610"/>
              <a:gd name="connsiteY66" fmla="*/ 1009363 h 4264910"/>
              <a:gd name="connsiteX67" fmla="*/ 5134674 w 5889610"/>
              <a:gd name="connsiteY67" fmla="*/ 975846 h 4264910"/>
              <a:gd name="connsiteX68" fmla="*/ 5104471 w 5889610"/>
              <a:gd name="connsiteY68" fmla="*/ 942787 h 4264910"/>
              <a:gd name="connsiteX69" fmla="*/ 5073776 w 5889610"/>
              <a:gd name="connsiteY69" fmla="*/ 910192 h 4264910"/>
              <a:gd name="connsiteX70" fmla="*/ 5042593 w 5889610"/>
              <a:gd name="connsiteY70" fmla="*/ 878066 h 4264910"/>
              <a:gd name="connsiteX71" fmla="*/ 5010930 w 5889610"/>
              <a:gd name="connsiteY71" fmla="*/ 846416 h 4264910"/>
              <a:gd name="connsiteX72" fmla="*/ 4978791 w 5889610"/>
              <a:gd name="connsiteY72" fmla="*/ 815247 h 4264910"/>
              <a:gd name="connsiteX73" fmla="*/ 4946183 w 5889610"/>
              <a:gd name="connsiteY73" fmla="*/ 784566 h 4264910"/>
              <a:gd name="connsiteX74" fmla="*/ 4913111 w 5889610"/>
              <a:gd name="connsiteY74" fmla="*/ 754377 h 4264910"/>
              <a:gd name="connsiteX75" fmla="*/ 4879582 w 5889610"/>
              <a:gd name="connsiteY75" fmla="*/ 724688 h 4264910"/>
              <a:gd name="connsiteX76" fmla="*/ 4845602 w 5889610"/>
              <a:gd name="connsiteY76" fmla="*/ 695504 h 4264910"/>
              <a:gd name="connsiteX77" fmla="*/ 4811176 w 5889610"/>
              <a:gd name="connsiteY77" fmla="*/ 666831 h 4264910"/>
              <a:gd name="connsiteX78" fmla="*/ 4776309 w 5889610"/>
              <a:gd name="connsiteY78" fmla="*/ 638674 h 4264910"/>
              <a:gd name="connsiteX79" fmla="*/ 4741009 w 5889610"/>
              <a:gd name="connsiteY79" fmla="*/ 611040 h 4264910"/>
              <a:gd name="connsiteX80" fmla="*/ 4705281 w 5889610"/>
              <a:gd name="connsiteY80" fmla="*/ 583934 h 4264910"/>
              <a:gd name="connsiteX81" fmla="*/ 4669131 w 5889610"/>
              <a:gd name="connsiteY81" fmla="*/ 557362 h 4264910"/>
              <a:gd name="connsiteX82" fmla="*/ 4632565 w 5889610"/>
              <a:gd name="connsiteY82" fmla="*/ 531331 h 4264910"/>
              <a:gd name="connsiteX83" fmla="*/ 4595588 w 5889610"/>
              <a:gd name="connsiteY83" fmla="*/ 505845 h 4264910"/>
              <a:gd name="connsiteX84" fmla="*/ 4558207 w 5889610"/>
              <a:gd name="connsiteY84" fmla="*/ 480912 h 4264910"/>
              <a:gd name="connsiteX85" fmla="*/ 4520427 w 5889610"/>
              <a:gd name="connsiteY85" fmla="*/ 456536 h 4264910"/>
              <a:gd name="connsiteX86" fmla="*/ 4482255 w 5889610"/>
              <a:gd name="connsiteY86" fmla="*/ 432724 h 4264910"/>
              <a:gd name="connsiteX87" fmla="*/ 4443696 w 5889610"/>
              <a:gd name="connsiteY87" fmla="*/ 409481 h 4264910"/>
              <a:gd name="connsiteX88" fmla="*/ 4404756 w 5889610"/>
              <a:gd name="connsiteY88" fmla="*/ 386814 h 4264910"/>
              <a:gd name="connsiteX89" fmla="*/ 4365441 w 5889610"/>
              <a:gd name="connsiteY89" fmla="*/ 364727 h 4264910"/>
              <a:gd name="connsiteX90" fmla="*/ 4325757 w 5889610"/>
              <a:gd name="connsiteY90" fmla="*/ 343228 h 4264910"/>
              <a:gd name="connsiteX91" fmla="*/ 4285710 w 5889610"/>
              <a:gd name="connsiteY91" fmla="*/ 322322 h 4264910"/>
              <a:gd name="connsiteX92" fmla="*/ 4245306 w 5889610"/>
              <a:gd name="connsiteY92" fmla="*/ 302015 h 4264910"/>
              <a:gd name="connsiteX93" fmla="*/ 4204550 w 5889610"/>
              <a:gd name="connsiteY93" fmla="*/ 282313 h 4264910"/>
              <a:gd name="connsiteX94" fmla="*/ 4163449 w 5889610"/>
              <a:gd name="connsiteY94" fmla="*/ 263221 h 4264910"/>
              <a:gd name="connsiteX95" fmla="*/ 4122008 w 5889610"/>
              <a:gd name="connsiteY95" fmla="*/ 244746 h 4264910"/>
              <a:gd name="connsiteX96" fmla="*/ 4080233 w 5889610"/>
              <a:gd name="connsiteY96" fmla="*/ 226893 h 4264910"/>
              <a:gd name="connsiteX97" fmla="*/ 4038131 w 5889610"/>
              <a:gd name="connsiteY97" fmla="*/ 209668 h 4264910"/>
              <a:gd name="connsiteX98" fmla="*/ 3995707 w 5889610"/>
              <a:gd name="connsiteY98" fmla="*/ 193077 h 4264910"/>
              <a:gd name="connsiteX99" fmla="*/ 3952967 w 5889610"/>
              <a:gd name="connsiteY99" fmla="*/ 177126 h 4264910"/>
              <a:gd name="connsiteX100" fmla="*/ 3909916 w 5889610"/>
              <a:gd name="connsiteY100" fmla="*/ 161821 h 4264910"/>
              <a:gd name="connsiteX101" fmla="*/ 3866562 w 5889610"/>
              <a:gd name="connsiteY101" fmla="*/ 147168 h 4264910"/>
              <a:gd name="connsiteX102" fmla="*/ 3822909 w 5889610"/>
              <a:gd name="connsiteY102" fmla="*/ 133172 h 4264910"/>
              <a:gd name="connsiteX103" fmla="*/ 3778964 w 5889610"/>
              <a:gd name="connsiteY103" fmla="*/ 119840 h 4264910"/>
              <a:gd name="connsiteX104" fmla="*/ 3734732 w 5889610"/>
              <a:gd name="connsiteY104" fmla="*/ 107177 h 4264910"/>
              <a:gd name="connsiteX105" fmla="*/ 3690220 w 5889610"/>
              <a:gd name="connsiteY105" fmla="*/ 95189 h 4264910"/>
              <a:gd name="connsiteX106" fmla="*/ 3645433 w 5889610"/>
              <a:gd name="connsiteY106" fmla="*/ 83883 h 4264910"/>
              <a:gd name="connsiteX107" fmla="*/ 3600377 w 5889610"/>
              <a:gd name="connsiteY107" fmla="*/ 73263 h 4264910"/>
              <a:gd name="connsiteX108" fmla="*/ 3555058 w 5889610"/>
              <a:gd name="connsiteY108" fmla="*/ 63336 h 4264910"/>
              <a:gd name="connsiteX109" fmla="*/ 3509482 w 5889610"/>
              <a:gd name="connsiteY109" fmla="*/ 54107 h 4264910"/>
              <a:gd name="connsiteX110" fmla="*/ 3463655 w 5889610"/>
              <a:gd name="connsiteY110" fmla="*/ 45584 h 4264910"/>
              <a:gd name="connsiteX111" fmla="*/ 3417583 w 5889610"/>
              <a:gd name="connsiteY111" fmla="*/ 37770 h 4264910"/>
              <a:gd name="connsiteX112" fmla="*/ 3371271 w 5889610"/>
              <a:gd name="connsiteY112" fmla="*/ 30673 h 4264910"/>
              <a:gd name="connsiteX113" fmla="*/ 3324726 w 5889610"/>
              <a:gd name="connsiteY113" fmla="*/ 24298 h 4264910"/>
              <a:gd name="connsiteX114" fmla="*/ 3277953 w 5889610"/>
              <a:gd name="connsiteY114" fmla="*/ 18651 h 4264910"/>
              <a:gd name="connsiteX115" fmla="*/ 3230959 w 5889610"/>
              <a:gd name="connsiteY115" fmla="*/ 13738 h 4264910"/>
              <a:gd name="connsiteX116" fmla="*/ 3183749 w 5889610"/>
              <a:gd name="connsiteY116" fmla="*/ 9564 h 4264910"/>
              <a:gd name="connsiteX117" fmla="*/ 3136329 w 5889610"/>
              <a:gd name="connsiteY117" fmla="*/ 6137 h 4264910"/>
              <a:gd name="connsiteX118" fmla="*/ 3088705 w 5889610"/>
              <a:gd name="connsiteY118" fmla="*/ 3461 h 4264910"/>
              <a:gd name="connsiteX119" fmla="*/ 3040883 w 5889610"/>
              <a:gd name="connsiteY119" fmla="*/ 1542 h 4264910"/>
              <a:gd name="connsiteX120" fmla="*/ 2992869 w 5889610"/>
              <a:gd name="connsiteY120" fmla="*/ 386 h 4264910"/>
              <a:gd name="connsiteX121" fmla="*/ 2944668 w 5889610"/>
              <a:gd name="connsiteY121" fmla="*/ 0 h 4264910"/>
              <a:gd name="connsiteX122" fmla="*/ 2896458 w 5889610"/>
              <a:gd name="connsiteY122" fmla="*/ 386 h 4264910"/>
              <a:gd name="connsiteX123" fmla="*/ 2848435 w 5889610"/>
              <a:gd name="connsiteY123" fmla="*/ 1542 h 4264910"/>
              <a:gd name="connsiteX124" fmla="*/ 2800604 w 5889610"/>
              <a:gd name="connsiteY124" fmla="*/ 3461 h 4264910"/>
              <a:gd name="connsiteX125" fmla="*/ 2752972 w 5889610"/>
              <a:gd name="connsiteY125" fmla="*/ 6137 h 4264910"/>
              <a:gd name="connsiteX126" fmla="*/ 2705544 w 5889610"/>
              <a:gd name="connsiteY126" fmla="*/ 9564 h 4264910"/>
              <a:gd name="connsiteX127" fmla="*/ 2658327 w 5889610"/>
              <a:gd name="connsiteY127" fmla="*/ 13738 h 4264910"/>
              <a:gd name="connsiteX128" fmla="*/ 2611326 w 5889610"/>
              <a:gd name="connsiteY128" fmla="*/ 18651 h 4264910"/>
              <a:gd name="connsiteX129" fmla="*/ 2564548 w 5889610"/>
              <a:gd name="connsiteY129" fmla="*/ 24298 h 4264910"/>
              <a:gd name="connsiteX130" fmla="*/ 2517997 w 5889610"/>
              <a:gd name="connsiteY130" fmla="*/ 30673 h 4264910"/>
              <a:gd name="connsiteX131" fmla="*/ 2471680 w 5889610"/>
              <a:gd name="connsiteY131" fmla="*/ 37770 h 4264910"/>
              <a:gd name="connsiteX132" fmla="*/ 2425603 w 5889610"/>
              <a:gd name="connsiteY132" fmla="*/ 45584 h 4264910"/>
              <a:gd name="connsiteX133" fmla="*/ 2379772 w 5889610"/>
              <a:gd name="connsiteY133" fmla="*/ 54107 h 4264910"/>
              <a:gd name="connsiteX134" fmla="*/ 2334192 w 5889610"/>
              <a:gd name="connsiteY134" fmla="*/ 63336 h 4264910"/>
              <a:gd name="connsiteX135" fmla="*/ 2288870 w 5889610"/>
              <a:gd name="connsiteY135" fmla="*/ 73263 h 4264910"/>
              <a:gd name="connsiteX136" fmla="*/ 2243811 w 5889610"/>
              <a:gd name="connsiteY136" fmla="*/ 83883 h 4264910"/>
              <a:gd name="connsiteX137" fmla="*/ 2199022 w 5889610"/>
              <a:gd name="connsiteY137" fmla="*/ 95189 h 4264910"/>
              <a:gd name="connsiteX138" fmla="*/ 2154507 w 5889610"/>
              <a:gd name="connsiteY138" fmla="*/ 107177 h 4264910"/>
              <a:gd name="connsiteX139" fmla="*/ 2110274 w 5889610"/>
              <a:gd name="connsiteY139" fmla="*/ 119840 h 4264910"/>
              <a:gd name="connsiteX140" fmla="*/ 2066327 w 5889610"/>
              <a:gd name="connsiteY140" fmla="*/ 133172 h 4264910"/>
              <a:gd name="connsiteX141" fmla="*/ 2022674 w 5889610"/>
              <a:gd name="connsiteY141" fmla="*/ 147168 h 4264910"/>
              <a:gd name="connsiteX142" fmla="*/ 1979319 w 5889610"/>
              <a:gd name="connsiteY142" fmla="*/ 161821 h 4264910"/>
              <a:gd name="connsiteX143" fmla="*/ 1936268 w 5889610"/>
              <a:gd name="connsiteY143" fmla="*/ 177126 h 4264910"/>
              <a:gd name="connsiteX144" fmla="*/ 1893528 w 5889610"/>
              <a:gd name="connsiteY144" fmla="*/ 193077 h 4264910"/>
              <a:gd name="connsiteX145" fmla="*/ 1851105 w 5889610"/>
              <a:gd name="connsiteY145" fmla="*/ 209668 h 4264910"/>
              <a:gd name="connsiteX146" fmla="*/ 1809003 w 5889610"/>
              <a:gd name="connsiteY146" fmla="*/ 226893 h 4264910"/>
              <a:gd name="connsiteX147" fmla="*/ 1767230 w 5889610"/>
              <a:gd name="connsiteY147" fmla="*/ 244746 h 4264910"/>
              <a:gd name="connsiteX148" fmla="*/ 1725791 w 5889610"/>
              <a:gd name="connsiteY148" fmla="*/ 263221 h 4264910"/>
              <a:gd name="connsiteX149" fmla="*/ 1684691 w 5889610"/>
              <a:gd name="connsiteY149" fmla="*/ 282313 h 4264910"/>
              <a:gd name="connsiteX150" fmla="*/ 1643938 w 5889610"/>
              <a:gd name="connsiteY150" fmla="*/ 302015 h 4264910"/>
              <a:gd name="connsiteX151" fmla="*/ 1603536 w 5889610"/>
              <a:gd name="connsiteY151" fmla="*/ 322322 h 4264910"/>
              <a:gd name="connsiteX152" fmla="*/ 1563492 w 5889610"/>
              <a:gd name="connsiteY152" fmla="*/ 343228 h 4264910"/>
              <a:gd name="connsiteX153" fmla="*/ 1523811 w 5889610"/>
              <a:gd name="connsiteY153" fmla="*/ 364727 h 4264910"/>
              <a:gd name="connsiteX154" fmla="*/ 1484499 w 5889610"/>
              <a:gd name="connsiteY154" fmla="*/ 386814 h 4264910"/>
              <a:gd name="connsiteX155" fmla="*/ 1445563 w 5889610"/>
              <a:gd name="connsiteY155" fmla="*/ 409481 h 4264910"/>
              <a:gd name="connsiteX156" fmla="*/ 1407007 w 5889610"/>
              <a:gd name="connsiteY156" fmla="*/ 432724 h 4264910"/>
              <a:gd name="connsiteX157" fmla="*/ 1368839 w 5889610"/>
              <a:gd name="connsiteY157" fmla="*/ 456536 h 4264910"/>
              <a:gd name="connsiteX158" fmla="*/ 1331064 w 5889610"/>
              <a:gd name="connsiteY158" fmla="*/ 480912 h 4264910"/>
              <a:gd name="connsiteX159" fmla="*/ 1293687 w 5889610"/>
              <a:gd name="connsiteY159" fmla="*/ 505845 h 4264910"/>
              <a:gd name="connsiteX160" fmla="*/ 1256715 w 5889610"/>
              <a:gd name="connsiteY160" fmla="*/ 531331 h 4264910"/>
              <a:gd name="connsiteX161" fmla="*/ 1220154 w 5889610"/>
              <a:gd name="connsiteY161" fmla="*/ 557362 h 4264910"/>
              <a:gd name="connsiteX162" fmla="*/ 1184009 w 5889610"/>
              <a:gd name="connsiteY162" fmla="*/ 583934 h 4264910"/>
              <a:gd name="connsiteX163" fmla="*/ 1148286 w 5889610"/>
              <a:gd name="connsiteY163" fmla="*/ 611040 h 4264910"/>
              <a:gd name="connsiteX164" fmla="*/ 1112991 w 5889610"/>
              <a:gd name="connsiteY164" fmla="*/ 638674 h 4264910"/>
              <a:gd name="connsiteX165" fmla="*/ 1078131 w 5889610"/>
              <a:gd name="connsiteY165" fmla="*/ 666831 h 4264910"/>
              <a:gd name="connsiteX166" fmla="*/ 1043710 w 5889610"/>
              <a:gd name="connsiteY166" fmla="*/ 695504 h 4264910"/>
              <a:gd name="connsiteX167" fmla="*/ 1009736 w 5889610"/>
              <a:gd name="connsiteY167" fmla="*/ 724688 h 4264910"/>
              <a:gd name="connsiteX168" fmla="*/ 976213 w 5889610"/>
              <a:gd name="connsiteY168" fmla="*/ 754377 h 4264910"/>
              <a:gd name="connsiteX169" fmla="*/ 943148 w 5889610"/>
              <a:gd name="connsiteY169" fmla="*/ 784566 h 4264910"/>
              <a:gd name="connsiteX170" fmla="*/ 910546 w 5889610"/>
              <a:gd name="connsiteY170" fmla="*/ 815247 h 4264910"/>
              <a:gd name="connsiteX171" fmla="*/ 878413 w 5889610"/>
              <a:gd name="connsiteY171" fmla="*/ 846416 h 4264910"/>
              <a:gd name="connsiteX172" fmla="*/ 846756 w 5889610"/>
              <a:gd name="connsiteY172" fmla="*/ 878066 h 4264910"/>
              <a:gd name="connsiteX173" fmla="*/ 815581 w 5889610"/>
              <a:gd name="connsiteY173" fmla="*/ 910192 h 4264910"/>
              <a:gd name="connsiteX174" fmla="*/ 784892 w 5889610"/>
              <a:gd name="connsiteY174" fmla="*/ 942787 h 4264910"/>
              <a:gd name="connsiteX175" fmla="*/ 754696 w 5889610"/>
              <a:gd name="connsiteY175" fmla="*/ 975846 h 4264910"/>
              <a:gd name="connsiteX176" fmla="*/ 724999 w 5889610"/>
              <a:gd name="connsiteY176" fmla="*/ 1009363 h 4264910"/>
              <a:gd name="connsiteX177" fmla="*/ 695807 w 5889610"/>
              <a:gd name="connsiteY177" fmla="*/ 1043332 h 4264910"/>
              <a:gd name="connsiteX178" fmla="*/ 667125 w 5889610"/>
              <a:gd name="connsiteY178" fmla="*/ 1077748 h 4264910"/>
              <a:gd name="connsiteX179" fmla="*/ 638960 w 5889610"/>
              <a:gd name="connsiteY179" fmla="*/ 1112604 h 4264910"/>
              <a:gd name="connsiteX180" fmla="*/ 611317 w 5889610"/>
              <a:gd name="connsiteY180" fmla="*/ 1147894 h 4264910"/>
              <a:gd name="connsiteX181" fmla="*/ 584202 w 5889610"/>
              <a:gd name="connsiteY181" fmla="*/ 1183613 h 4264910"/>
              <a:gd name="connsiteX182" fmla="*/ 557622 w 5889610"/>
              <a:gd name="connsiteY182" fmla="*/ 1219754 h 4264910"/>
              <a:gd name="connsiteX183" fmla="*/ 531582 w 5889610"/>
              <a:gd name="connsiteY183" fmla="*/ 1256313 h 4264910"/>
              <a:gd name="connsiteX184" fmla="*/ 506087 w 5889610"/>
              <a:gd name="connsiteY184" fmla="*/ 1293282 h 4264910"/>
              <a:gd name="connsiteX185" fmla="*/ 481145 w 5889610"/>
              <a:gd name="connsiteY185" fmla="*/ 1330656 h 4264910"/>
              <a:gd name="connsiteX186" fmla="*/ 456760 w 5889610"/>
              <a:gd name="connsiteY186" fmla="*/ 1368430 h 4264910"/>
              <a:gd name="connsiteX187" fmla="*/ 432939 w 5889610"/>
              <a:gd name="connsiteY187" fmla="*/ 1406597 h 4264910"/>
              <a:gd name="connsiteX188" fmla="*/ 409687 w 5889610"/>
              <a:gd name="connsiteY188" fmla="*/ 1445152 h 4264910"/>
              <a:gd name="connsiteX189" fmla="*/ 387011 w 5889610"/>
              <a:gd name="connsiteY189" fmla="*/ 1484088 h 4264910"/>
              <a:gd name="connsiteX190" fmla="*/ 364915 w 5889610"/>
              <a:gd name="connsiteY190" fmla="*/ 1523400 h 4264910"/>
              <a:gd name="connsiteX191" fmla="*/ 343407 w 5889610"/>
              <a:gd name="connsiteY191" fmla="*/ 1563082 h 4264910"/>
              <a:gd name="connsiteX192" fmla="*/ 322492 w 5889610"/>
              <a:gd name="connsiteY192" fmla="*/ 1603127 h 4264910"/>
              <a:gd name="connsiteX193" fmla="*/ 302176 w 5889610"/>
              <a:gd name="connsiteY193" fmla="*/ 1643531 h 4264910"/>
              <a:gd name="connsiteX194" fmla="*/ 282465 w 5889610"/>
              <a:gd name="connsiteY194" fmla="*/ 1684288 h 4264910"/>
              <a:gd name="connsiteX195" fmla="*/ 263365 w 5889610"/>
              <a:gd name="connsiteY195" fmla="*/ 1725390 h 4264910"/>
              <a:gd name="connsiteX196" fmla="*/ 244881 w 5889610"/>
              <a:gd name="connsiteY196" fmla="*/ 1766833 h 4264910"/>
              <a:gd name="connsiteX197" fmla="*/ 227019 w 5889610"/>
              <a:gd name="connsiteY197" fmla="*/ 1808611 h 4264910"/>
              <a:gd name="connsiteX198" fmla="*/ 209786 w 5889610"/>
              <a:gd name="connsiteY198" fmla="*/ 1850718 h 4264910"/>
              <a:gd name="connsiteX199" fmla="*/ 193187 w 5889610"/>
              <a:gd name="connsiteY199" fmla="*/ 1893147 h 4264910"/>
              <a:gd name="connsiteX200" fmla="*/ 177228 w 5889610"/>
              <a:gd name="connsiteY200" fmla="*/ 1935894 h 4264910"/>
              <a:gd name="connsiteX201" fmla="*/ 161915 w 5889610"/>
              <a:gd name="connsiteY201" fmla="*/ 1978952 h 4264910"/>
              <a:gd name="connsiteX202" fmla="*/ 147254 w 5889610"/>
              <a:gd name="connsiteY202" fmla="*/ 2022315 h 4264910"/>
              <a:gd name="connsiteX203" fmla="*/ 133251 w 5889610"/>
              <a:gd name="connsiteY203" fmla="*/ 2065977 h 4264910"/>
              <a:gd name="connsiteX204" fmla="*/ 119912 w 5889610"/>
              <a:gd name="connsiteY204" fmla="*/ 2109933 h 4264910"/>
              <a:gd name="connsiteX205" fmla="*/ 107242 w 5889610"/>
              <a:gd name="connsiteY205" fmla="*/ 2154177 h 4264910"/>
              <a:gd name="connsiteX206" fmla="*/ 95247 w 5889610"/>
              <a:gd name="connsiteY206" fmla="*/ 2198702 h 4264910"/>
              <a:gd name="connsiteX207" fmla="*/ 83934 w 5889610"/>
              <a:gd name="connsiteY207" fmla="*/ 2243504 h 4264910"/>
              <a:gd name="connsiteX208" fmla="*/ 73308 w 5889610"/>
              <a:gd name="connsiteY208" fmla="*/ 2288575 h 4264910"/>
              <a:gd name="connsiteX209" fmla="*/ 63375 w 5889610"/>
              <a:gd name="connsiteY209" fmla="*/ 2333911 h 4264910"/>
              <a:gd name="connsiteX210" fmla="*/ 54141 w 5889610"/>
              <a:gd name="connsiteY210" fmla="*/ 2379505 h 4264910"/>
              <a:gd name="connsiteX211" fmla="*/ 45613 w 5889610"/>
              <a:gd name="connsiteY211" fmla="*/ 2425352 h 4264910"/>
              <a:gd name="connsiteX212" fmla="*/ 37794 w 5889610"/>
              <a:gd name="connsiteY212" fmla="*/ 2471445 h 4264910"/>
              <a:gd name="connsiteX213" fmla="*/ 30693 w 5889610"/>
              <a:gd name="connsiteY213" fmla="*/ 2517779 h 4264910"/>
              <a:gd name="connsiteX214" fmla="*/ 24314 w 5889610"/>
              <a:gd name="connsiteY214" fmla="*/ 2564347 h 4264910"/>
              <a:gd name="connsiteX215" fmla="*/ 18663 w 5889610"/>
              <a:gd name="connsiteY215" fmla="*/ 2611145 h 4264910"/>
              <a:gd name="connsiteX216" fmla="*/ 13747 w 5889610"/>
              <a:gd name="connsiteY216" fmla="*/ 2658166 h 4264910"/>
              <a:gd name="connsiteX217" fmla="*/ 9571 w 5889610"/>
              <a:gd name="connsiteY217" fmla="*/ 2705404 h 4264910"/>
              <a:gd name="connsiteX218" fmla="*/ 6141 w 5889610"/>
              <a:gd name="connsiteY218" fmla="*/ 2752853 h 4264910"/>
              <a:gd name="connsiteX219" fmla="*/ 3463 w 5889610"/>
              <a:gd name="connsiteY219" fmla="*/ 2800508 h 4264910"/>
              <a:gd name="connsiteX220" fmla="*/ 1543 w 5889610"/>
              <a:gd name="connsiteY220" fmla="*/ 2848362 h 4264910"/>
              <a:gd name="connsiteX221" fmla="*/ 386 w 5889610"/>
              <a:gd name="connsiteY221" fmla="*/ 2896411 h 4264910"/>
              <a:gd name="connsiteX222" fmla="*/ 0 w 5889610"/>
              <a:gd name="connsiteY222"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727629 w 5889610"/>
              <a:gd name="connsiteY0" fmla="*/ 3910499 h 4264910"/>
              <a:gd name="connsiteX1" fmla="*/ 5742296 w 5889610"/>
              <a:gd name="connsiteY1" fmla="*/ 3867130 h 4264910"/>
              <a:gd name="connsiteX2" fmla="*/ 5756304 w 5889610"/>
              <a:gd name="connsiteY2" fmla="*/ 3823462 h 4264910"/>
              <a:gd name="connsiteX3" fmla="*/ 5769649 w 5889610"/>
              <a:gd name="connsiteY3" fmla="*/ 3779500 h 4264910"/>
              <a:gd name="connsiteX4" fmla="*/ 5782324 w 5889610"/>
              <a:gd name="connsiteY4" fmla="*/ 3735250 h 4264910"/>
              <a:gd name="connsiteX5" fmla="*/ 5794323 w 5889610"/>
              <a:gd name="connsiteY5" fmla="*/ 3690717 h 4264910"/>
              <a:gd name="connsiteX6" fmla="*/ 5826208 w 5889610"/>
              <a:gd name="connsiteY6" fmla="*/ 3555488 h 4264910"/>
              <a:gd name="connsiteX7" fmla="*/ 5835445 w 5889610"/>
              <a:gd name="connsiteY7" fmla="*/ 3509887 h 4264910"/>
              <a:gd name="connsiteX8" fmla="*/ 5843978 w 5889610"/>
              <a:gd name="connsiteY8" fmla="*/ 3464033 h 4264910"/>
              <a:gd name="connsiteX9" fmla="*/ 5851799 w 5889610"/>
              <a:gd name="connsiteY9" fmla="*/ 3417933 h 4264910"/>
              <a:gd name="connsiteX10" fmla="*/ 5858904 w 5889610"/>
              <a:gd name="connsiteY10" fmla="*/ 3371591 h 4264910"/>
              <a:gd name="connsiteX11" fmla="*/ 5865285 w 5889610"/>
              <a:gd name="connsiteY11" fmla="*/ 3325015 h 4264910"/>
              <a:gd name="connsiteX12" fmla="*/ 5870938 w 5889610"/>
              <a:gd name="connsiteY12" fmla="*/ 3278209 h 4264910"/>
              <a:gd name="connsiteX13" fmla="*/ 5875857 w 5889610"/>
              <a:gd name="connsiteY13" fmla="*/ 3231180 h 4264910"/>
              <a:gd name="connsiteX14" fmla="*/ 5880035 w 5889610"/>
              <a:gd name="connsiteY14" fmla="*/ 3183934 h 4264910"/>
              <a:gd name="connsiteX15" fmla="*/ 5883466 w 5889610"/>
              <a:gd name="connsiteY15" fmla="*/ 3136476 h 4264910"/>
              <a:gd name="connsiteX16" fmla="*/ 5886146 w 5889610"/>
              <a:gd name="connsiteY16" fmla="*/ 3088813 h 4264910"/>
              <a:gd name="connsiteX17" fmla="*/ 5888067 w 5889610"/>
              <a:gd name="connsiteY17" fmla="*/ 3040949 h 4264910"/>
              <a:gd name="connsiteX18" fmla="*/ 5889223 w 5889610"/>
              <a:gd name="connsiteY18" fmla="*/ 2992892 h 4264910"/>
              <a:gd name="connsiteX19" fmla="*/ 5889610 w 5889610"/>
              <a:gd name="connsiteY19" fmla="*/ 2944647 h 4264910"/>
              <a:gd name="connsiteX20" fmla="*/ 5889223 w 5889610"/>
              <a:gd name="connsiteY20" fmla="*/ 2896411 h 4264910"/>
              <a:gd name="connsiteX21" fmla="*/ 5888067 w 5889610"/>
              <a:gd name="connsiteY21" fmla="*/ 2848362 h 4264910"/>
              <a:gd name="connsiteX22" fmla="*/ 5886146 w 5889610"/>
              <a:gd name="connsiteY22" fmla="*/ 2800508 h 4264910"/>
              <a:gd name="connsiteX23" fmla="*/ 5883466 w 5889610"/>
              <a:gd name="connsiteY23" fmla="*/ 2752853 h 4264910"/>
              <a:gd name="connsiteX24" fmla="*/ 5880035 w 5889610"/>
              <a:gd name="connsiteY24" fmla="*/ 2705404 h 4264910"/>
              <a:gd name="connsiteX25" fmla="*/ 5875857 w 5889610"/>
              <a:gd name="connsiteY25" fmla="*/ 2658166 h 4264910"/>
              <a:gd name="connsiteX26" fmla="*/ 5870938 w 5889610"/>
              <a:gd name="connsiteY26" fmla="*/ 2611145 h 4264910"/>
              <a:gd name="connsiteX27" fmla="*/ 5865285 w 5889610"/>
              <a:gd name="connsiteY27" fmla="*/ 2564347 h 4264910"/>
              <a:gd name="connsiteX28" fmla="*/ 5858904 w 5889610"/>
              <a:gd name="connsiteY28" fmla="*/ 2517779 h 4264910"/>
              <a:gd name="connsiteX29" fmla="*/ 5851799 w 5889610"/>
              <a:gd name="connsiteY29" fmla="*/ 2471445 h 4264910"/>
              <a:gd name="connsiteX30" fmla="*/ 5843978 w 5889610"/>
              <a:gd name="connsiteY30" fmla="*/ 2425352 h 4264910"/>
              <a:gd name="connsiteX31" fmla="*/ 5835445 w 5889610"/>
              <a:gd name="connsiteY31" fmla="*/ 2379505 h 4264910"/>
              <a:gd name="connsiteX32" fmla="*/ 5826208 w 5889610"/>
              <a:gd name="connsiteY32" fmla="*/ 2333911 h 4264910"/>
              <a:gd name="connsiteX33" fmla="*/ 5816271 w 5889610"/>
              <a:gd name="connsiteY33" fmla="*/ 2288575 h 4264910"/>
              <a:gd name="connsiteX34" fmla="*/ 5805641 w 5889610"/>
              <a:gd name="connsiteY34" fmla="*/ 2243504 h 4264910"/>
              <a:gd name="connsiteX35" fmla="*/ 5794323 w 5889610"/>
              <a:gd name="connsiteY35" fmla="*/ 2198702 h 4264910"/>
              <a:gd name="connsiteX36" fmla="*/ 5782324 w 5889610"/>
              <a:gd name="connsiteY36" fmla="*/ 2154177 h 4264910"/>
              <a:gd name="connsiteX37" fmla="*/ 5769649 w 5889610"/>
              <a:gd name="connsiteY37" fmla="*/ 2109933 h 4264910"/>
              <a:gd name="connsiteX38" fmla="*/ 5756304 w 5889610"/>
              <a:gd name="connsiteY38" fmla="*/ 2065977 h 4264910"/>
              <a:gd name="connsiteX39" fmla="*/ 5742296 w 5889610"/>
              <a:gd name="connsiteY39" fmla="*/ 2022315 h 4264910"/>
              <a:gd name="connsiteX40" fmla="*/ 5727629 w 5889610"/>
              <a:gd name="connsiteY40" fmla="*/ 1978952 h 4264910"/>
              <a:gd name="connsiteX41" fmla="*/ 5712311 w 5889610"/>
              <a:gd name="connsiteY41" fmla="*/ 1935894 h 4264910"/>
              <a:gd name="connsiteX42" fmla="*/ 5696346 w 5889610"/>
              <a:gd name="connsiteY42" fmla="*/ 1893147 h 4264910"/>
              <a:gd name="connsiteX43" fmla="*/ 5679741 w 5889610"/>
              <a:gd name="connsiteY43" fmla="*/ 1850718 h 4264910"/>
              <a:gd name="connsiteX44" fmla="*/ 5662502 w 5889610"/>
              <a:gd name="connsiteY44" fmla="*/ 1808611 h 4264910"/>
              <a:gd name="connsiteX45" fmla="*/ 5644634 w 5889610"/>
              <a:gd name="connsiteY45" fmla="*/ 1766833 h 4264910"/>
              <a:gd name="connsiteX46" fmla="*/ 5626144 w 5889610"/>
              <a:gd name="connsiteY46" fmla="*/ 1725390 h 4264910"/>
              <a:gd name="connsiteX47" fmla="*/ 5607037 w 5889610"/>
              <a:gd name="connsiteY47" fmla="*/ 1684288 h 4264910"/>
              <a:gd name="connsiteX48" fmla="*/ 5587319 w 5889610"/>
              <a:gd name="connsiteY48" fmla="*/ 1643531 h 4264910"/>
              <a:gd name="connsiteX49" fmla="*/ 5566997 w 5889610"/>
              <a:gd name="connsiteY49" fmla="*/ 1603127 h 4264910"/>
              <a:gd name="connsiteX50" fmla="*/ 5546075 w 5889610"/>
              <a:gd name="connsiteY50" fmla="*/ 1563082 h 4264910"/>
              <a:gd name="connsiteX51" fmla="*/ 5524560 w 5889610"/>
              <a:gd name="connsiteY51" fmla="*/ 1523400 h 4264910"/>
              <a:gd name="connsiteX52" fmla="*/ 5502458 w 5889610"/>
              <a:gd name="connsiteY52" fmla="*/ 1484088 h 4264910"/>
              <a:gd name="connsiteX53" fmla="*/ 5479775 w 5889610"/>
              <a:gd name="connsiteY53" fmla="*/ 1445152 h 4264910"/>
              <a:gd name="connsiteX54" fmla="*/ 5456516 w 5889610"/>
              <a:gd name="connsiteY54" fmla="*/ 1406597 h 4264910"/>
              <a:gd name="connsiteX55" fmla="*/ 5432688 w 5889610"/>
              <a:gd name="connsiteY55" fmla="*/ 1368430 h 4264910"/>
              <a:gd name="connsiteX56" fmla="*/ 5408296 w 5889610"/>
              <a:gd name="connsiteY56" fmla="*/ 1330656 h 4264910"/>
              <a:gd name="connsiteX57" fmla="*/ 5383346 w 5889610"/>
              <a:gd name="connsiteY57" fmla="*/ 1293282 h 4264910"/>
              <a:gd name="connsiteX58" fmla="*/ 5357845 w 5889610"/>
              <a:gd name="connsiteY58" fmla="*/ 1256313 h 4264910"/>
              <a:gd name="connsiteX59" fmla="*/ 5331797 w 5889610"/>
              <a:gd name="connsiteY59" fmla="*/ 1219754 h 4264910"/>
              <a:gd name="connsiteX60" fmla="*/ 5305210 w 5889610"/>
              <a:gd name="connsiteY60" fmla="*/ 1183613 h 4264910"/>
              <a:gd name="connsiteX61" fmla="*/ 5278088 w 5889610"/>
              <a:gd name="connsiteY61" fmla="*/ 1147894 h 4264910"/>
              <a:gd name="connsiteX62" fmla="*/ 5250438 w 5889610"/>
              <a:gd name="connsiteY62" fmla="*/ 1112604 h 4264910"/>
              <a:gd name="connsiteX63" fmla="*/ 5222266 w 5889610"/>
              <a:gd name="connsiteY63" fmla="*/ 1077748 h 4264910"/>
              <a:gd name="connsiteX64" fmla="*/ 5193577 w 5889610"/>
              <a:gd name="connsiteY64" fmla="*/ 1043332 h 4264910"/>
              <a:gd name="connsiteX65" fmla="*/ 5164378 w 5889610"/>
              <a:gd name="connsiteY65" fmla="*/ 1009363 h 4264910"/>
              <a:gd name="connsiteX66" fmla="*/ 5134674 w 5889610"/>
              <a:gd name="connsiteY66" fmla="*/ 975846 h 4264910"/>
              <a:gd name="connsiteX67" fmla="*/ 5104471 w 5889610"/>
              <a:gd name="connsiteY67" fmla="*/ 942787 h 4264910"/>
              <a:gd name="connsiteX68" fmla="*/ 5073776 w 5889610"/>
              <a:gd name="connsiteY68" fmla="*/ 910192 h 4264910"/>
              <a:gd name="connsiteX69" fmla="*/ 5042593 w 5889610"/>
              <a:gd name="connsiteY69" fmla="*/ 878066 h 4264910"/>
              <a:gd name="connsiteX70" fmla="*/ 5010930 w 5889610"/>
              <a:gd name="connsiteY70" fmla="*/ 846416 h 4264910"/>
              <a:gd name="connsiteX71" fmla="*/ 4978791 w 5889610"/>
              <a:gd name="connsiteY71" fmla="*/ 815247 h 4264910"/>
              <a:gd name="connsiteX72" fmla="*/ 4946183 w 5889610"/>
              <a:gd name="connsiteY72" fmla="*/ 784566 h 4264910"/>
              <a:gd name="connsiteX73" fmla="*/ 4913111 w 5889610"/>
              <a:gd name="connsiteY73" fmla="*/ 754377 h 4264910"/>
              <a:gd name="connsiteX74" fmla="*/ 4879582 w 5889610"/>
              <a:gd name="connsiteY74" fmla="*/ 724688 h 4264910"/>
              <a:gd name="connsiteX75" fmla="*/ 4845602 w 5889610"/>
              <a:gd name="connsiteY75" fmla="*/ 695504 h 4264910"/>
              <a:gd name="connsiteX76" fmla="*/ 4811176 w 5889610"/>
              <a:gd name="connsiteY76" fmla="*/ 666831 h 4264910"/>
              <a:gd name="connsiteX77" fmla="*/ 4776309 w 5889610"/>
              <a:gd name="connsiteY77" fmla="*/ 638674 h 4264910"/>
              <a:gd name="connsiteX78" fmla="*/ 4741009 w 5889610"/>
              <a:gd name="connsiteY78" fmla="*/ 611040 h 4264910"/>
              <a:gd name="connsiteX79" fmla="*/ 4705281 w 5889610"/>
              <a:gd name="connsiteY79" fmla="*/ 583934 h 4264910"/>
              <a:gd name="connsiteX80" fmla="*/ 4669131 w 5889610"/>
              <a:gd name="connsiteY80" fmla="*/ 557362 h 4264910"/>
              <a:gd name="connsiteX81" fmla="*/ 4632565 w 5889610"/>
              <a:gd name="connsiteY81" fmla="*/ 531331 h 4264910"/>
              <a:gd name="connsiteX82" fmla="*/ 4595588 w 5889610"/>
              <a:gd name="connsiteY82" fmla="*/ 505845 h 4264910"/>
              <a:gd name="connsiteX83" fmla="*/ 4558207 w 5889610"/>
              <a:gd name="connsiteY83" fmla="*/ 480912 h 4264910"/>
              <a:gd name="connsiteX84" fmla="*/ 4520427 w 5889610"/>
              <a:gd name="connsiteY84" fmla="*/ 456536 h 4264910"/>
              <a:gd name="connsiteX85" fmla="*/ 4482255 w 5889610"/>
              <a:gd name="connsiteY85" fmla="*/ 432724 h 4264910"/>
              <a:gd name="connsiteX86" fmla="*/ 4443696 w 5889610"/>
              <a:gd name="connsiteY86" fmla="*/ 409481 h 4264910"/>
              <a:gd name="connsiteX87" fmla="*/ 4404756 w 5889610"/>
              <a:gd name="connsiteY87" fmla="*/ 386814 h 4264910"/>
              <a:gd name="connsiteX88" fmla="*/ 4365441 w 5889610"/>
              <a:gd name="connsiteY88" fmla="*/ 364727 h 4264910"/>
              <a:gd name="connsiteX89" fmla="*/ 4325757 w 5889610"/>
              <a:gd name="connsiteY89" fmla="*/ 343228 h 4264910"/>
              <a:gd name="connsiteX90" fmla="*/ 4285710 w 5889610"/>
              <a:gd name="connsiteY90" fmla="*/ 322322 h 4264910"/>
              <a:gd name="connsiteX91" fmla="*/ 4245306 w 5889610"/>
              <a:gd name="connsiteY91" fmla="*/ 302015 h 4264910"/>
              <a:gd name="connsiteX92" fmla="*/ 4204550 w 5889610"/>
              <a:gd name="connsiteY92" fmla="*/ 282313 h 4264910"/>
              <a:gd name="connsiteX93" fmla="*/ 4163449 w 5889610"/>
              <a:gd name="connsiteY93" fmla="*/ 263221 h 4264910"/>
              <a:gd name="connsiteX94" fmla="*/ 4122008 w 5889610"/>
              <a:gd name="connsiteY94" fmla="*/ 244746 h 4264910"/>
              <a:gd name="connsiteX95" fmla="*/ 4080233 w 5889610"/>
              <a:gd name="connsiteY95" fmla="*/ 226893 h 4264910"/>
              <a:gd name="connsiteX96" fmla="*/ 4038131 w 5889610"/>
              <a:gd name="connsiteY96" fmla="*/ 209668 h 4264910"/>
              <a:gd name="connsiteX97" fmla="*/ 3995707 w 5889610"/>
              <a:gd name="connsiteY97" fmla="*/ 193077 h 4264910"/>
              <a:gd name="connsiteX98" fmla="*/ 3952967 w 5889610"/>
              <a:gd name="connsiteY98" fmla="*/ 177126 h 4264910"/>
              <a:gd name="connsiteX99" fmla="*/ 3909916 w 5889610"/>
              <a:gd name="connsiteY99" fmla="*/ 161821 h 4264910"/>
              <a:gd name="connsiteX100" fmla="*/ 3866562 w 5889610"/>
              <a:gd name="connsiteY100" fmla="*/ 147168 h 4264910"/>
              <a:gd name="connsiteX101" fmla="*/ 3822909 w 5889610"/>
              <a:gd name="connsiteY101" fmla="*/ 133172 h 4264910"/>
              <a:gd name="connsiteX102" fmla="*/ 3778964 w 5889610"/>
              <a:gd name="connsiteY102" fmla="*/ 119840 h 4264910"/>
              <a:gd name="connsiteX103" fmla="*/ 3734732 w 5889610"/>
              <a:gd name="connsiteY103" fmla="*/ 107177 h 4264910"/>
              <a:gd name="connsiteX104" fmla="*/ 3690220 w 5889610"/>
              <a:gd name="connsiteY104" fmla="*/ 95189 h 4264910"/>
              <a:gd name="connsiteX105" fmla="*/ 3645433 w 5889610"/>
              <a:gd name="connsiteY105" fmla="*/ 83883 h 4264910"/>
              <a:gd name="connsiteX106" fmla="*/ 3600377 w 5889610"/>
              <a:gd name="connsiteY106" fmla="*/ 73263 h 4264910"/>
              <a:gd name="connsiteX107" fmla="*/ 3555058 w 5889610"/>
              <a:gd name="connsiteY107" fmla="*/ 63336 h 4264910"/>
              <a:gd name="connsiteX108" fmla="*/ 3509482 w 5889610"/>
              <a:gd name="connsiteY108" fmla="*/ 54107 h 4264910"/>
              <a:gd name="connsiteX109" fmla="*/ 3463655 w 5889610"/>
              <a:gd name="connsiteY109" fmla="*/ 45584 h 4264910"/>
              <a:gd name="connsiteX110" fmla="*/ 3417583 w 5889610"/>
              <a:gd name="connsiteY110" fmla="*/ 37770 h 4264910"/>
              <a:gd name="connsiteX111" fmla="*/ 3371271 w 5889610"/>
              <a:gd name="connsiteY111" fmla="*/ 30673 h 4264910"/>
              <a:gd name="connsiteX112" fmla="*/ 3324726 w 5889610"/>
              <a:gd name="connsiteY112" fmla="*/ 24298 h 4264910"/>
              <a:gd name="connsiteX113" fmla="*/ 3277953 w 5889610"/>
              <a:gd name="connsiteY113" fmla="*/ 18651 h 4264910"/>
              <a:gd name="connsiteX114" fmla="*/ 3230959 w 5889610"/>
              <a:gd name="connsiteY114" fmla="*/ 13738 h 4264910"/>
              <a:gd name="connsiteX115" fmla="*/ 3183749 w 5889610"/>
              <a:gd name="connsiteY115" fmla="*/ 9564 h 4264910"/>
              <a:gd name="connsiteX116" fmla="*/ 3136329 w 5889610"/>
              <a:gd name="connsiteY116" fmla="*/ 6137 h 4264910"/>
              <a:gd name="connsiteX117" fmla="*/ 3088705 w 5889610"/>
              <a:gd name="connsiteY117" fmla="*/ 3461 h 4264910"/>
              <a:gd name="connsiteX118" fmla="*/ 3040883 w 5889610"/>
              <a:gd name="connsiteY118" fmla="*/ 1542 h 4264910"/>
              <a:gd name="connsiteX119" fmla="*/ 2992869 w 5889610"/>
              <a:gd name="connsiteY119" fmla="*/ 386 h 4264910"/>
              <a:gd name="connsiteX120" fmla="*/ 2944668 w 5889610"/>
              <a:gd name="connsiteY120" fmla="*/ 0 h 4264910"/>
              <a:gd name="connsiteX121" fmla="*/ 2896458 w 5889610"/>
              <a:gd name="connsiteY121" fmla="*/ 386 h 4264910"/>
              <a:gd name="connsiteX122" fmla="*/ 2848435 w 5889610"/>
              <a:gd name="connsiteY122" fmla="*/ 1542 h 4264910"/>
              <a:gd name="connsiteX123" fmla="*/ 2800604 w 5889610"/>
              <a:gd name="connsiteY123" fmla="*/ 3461 h 4264910"/>
              <a:gd name="connsiteX124" fmla="*/ 2752972 w 5889610"/>
              <a:gd name="connsiteY124" fmla="*/ 6137 h 4264910"/>
              <a:gd name="connsiteX125" fmla="*/ 2705544 w 5889610"/>
              <a:gd name="connsiteY125" fmla="*/ 9564 h 4264910"/>
              <a:gd name="connsiteX126" fmla="*/ 2658327 w 5889610"/>
              <a:gd name="connsiteY126" fmla="*/ 13738 h 4264910"/>
              <a:gd name="connsiteX127" fmla="*/ 2611326 w 5889610"/>
              <a:gd name="connsiteY127" fmla="*/ 18651 h 4264910"/>
              <a:gd name="connsiteX128" fmla="*/ 2564548 w 5889610"/>
              <a:gd name="connsiteY128" fmla="*/ 24298 h 4264910"/>
              <a:gd name="connsiteX129" fmla="*/ 2517997 w 5889610"/>
              <a:gd name="connsiteY129" fmla="*/ 30673 h 4264910"/>
              <a:gd name="connsiteX130" fmla="*/ 2471680 w 5889610"/>
              <a:gd name="connsiteY130" fmla="*/ 37770 h 4264910"/>
              <a:gd name="connsiteX131" fmla="*/ 2425603 w 5889610"/>
              <a:gd name="connsiteY131" fmla="*/ 45584 h 4264910"/>
              <a:gd name="connsiteX132" fmla="*/ 2379772 w 5889610"/>
              <a:gd name="connsiteY132" fmla="*/ 54107 h 4264910"/>
              <a:gd name="connsiteX133" fmla="*/ 2334192 w 5889610"/>
              <a:gd name="connsiteY133" fmla="*/ 63336 h 4264910"/>
              <a:gd name="connsiteX134" fmla="*/ 2288870 w 5889610"/>
              <a:gd name="connsiteY134" fmla="*/ 73263 h 4264910"/>
              <a:gd name="connsiteX135" fmla="*/ 2243811 w 5889610"/>
              <a:gd name="connsiteY135" fmla="*/ 83883 h 4264910"/>
              <a:gd name="connsiteX136" fmla="*/ 2199022 w 5889610"/>
              <a:gd name="connsiteY136" fmla="*/ 95189 h 4264910"/>
              <a:gd name="connsiteX137" fmla="*/ 2154507 w 5889610"/>
              <a:gd name="connsiteY137" fmla="*/ 107177 h 4264910"/>
              <a:gd name="connsiteX138" fmla="*/ 2110274 w 5889610"/>
              <a:gd name="connsiteY138" fmla="*/ 119840 h 4264910"/>
              <a:gd name="connsiteX139" fmla="*/ 2066327 w 5889610"/>
              <a:gd name="connsiteY139" fmla="*/ 133172 h 4264910"/>
              <a:gd name="connsiteX140" fmla="*/ 2022674 w 5889610"/>
              <a:gd name="connsiteY140" fmla="*/ 147168 h 4264910"/>
              <a:gd name="connsiteX141" fmla="*/ 1979319 w 5889610"/>
              <a:gd name="connsiteY141" fmla="*/ 161821 h 4264910"/>
              <a:gd name="connsiteX142" fmla="*/ 1936268 w 5889610"/>
              <a:gd name="connsiteY142" fmla="*/ 177126 h 4264910"/>
              <a:gd name="connsiteX143" fmla="*/ 1893528 w 5889610"/>
              <a:gd name="connsiteY143" fmla="*/ 193077 h 4264910"/>
              <a:gd name="connsiteX144" fmla="*/ 1851105 w 5889610"/>
              <a:gd name="connsiteY144" fmla="*/ 209668 h 4264910"/>
              <a:gd name="connsiteX145" fmla="*/ 1809003 w 5889610"/>
              <a:gd name="connsiteY145" fmla="*/ 226893 h 4264910"/>
              <a:gd name="connsiteX146" fmla="*/ 1767230 w 5889610"/>
              <a:gd name="connsiteY146" fmla="*/ 244746 h 4264910"/>
              <a:gd name="connsiteX147" fmla="*/ 1725791 w 5889610"/>
              <a:gd name="connsiteY147" fmla="*/ 263221 h 4264910"/>
              <a:gd name="connsiteX148" fmla="*/ 1684691 w 5889610"/>
              <a:gd name="connsiteY148" fmla="*/ 282313 h 4264910"/>
              <a:gd name="connsiteX149" fmla="*/ 1643938 w 5889610"/>
              <a:gd name="connsiteY149" fmla="*/ 302015 h 4264910"/>
              <a:gd name="connsiteX150" fmla="*/ 1603536 w 5889610"/>
              <a:gd name="connsiteY150" fmla="*/ 322322 h 4264910"/>
              <a:gd name="connsiteX151" fmla="*/ 1563492 w 5889610"/>
              <a:gd name="connsiteY151" fmla="*/ 343228 h 4264910"/>
              <a:gd name="connsiteX152" fmla="*/ 1523811 w 5889610"/>
              <a:gd name="connsiteY152" fmla="*/ 364727 h 4264910"/>
              <a:gd name="connsiteX153" fmla="*/ 1484499 w 5889610"/>
              <a:gd name="connsiteY153" fmla="*/ 386814 h 4264910"/>
              <a:gd name="connsiteX154" fmla="*/ 1445563 w 5889610"/>
              <a:gd name="connsiteY154" fmla="*/ 409481 h 4264910"/>
              <a:gd name="connsiteX155" fmla="*/ 1407007 w 5889610"/>
              <a:gd name="connsiteY155" fmla="*/ 432724 h 4264910"/>
              <a:gd name="connsiteX156" fmla="*/ 1368839 w 5889610"/>
              <a:gd name="connsiteY156" fmla="*/ 456536 h 4264910"/>
              <a:gd name="connsiteX157" fmla="*/ 1331064 w 5889610"/>
              <a:gd name="connsiteY157" fmla="*/ 480912 h 4264910"/>
              <a:gd name="connsiteX158" fmla="*/ 1293687 w 5889610"/>
              <a:gd name="connsiteY158" fmla="*/ 505845 h 4264910"/>
              <a:gd name="connsiteX159" fmla="*/ 1256715 w 5889610"/>
              <a:gd name="connsiteY159" fmla="*/ 531331 h 4264910"/>
              <a:gd name="connsiteX160" fmla="*/ 1220154 w 5889610"/>
              <a:gd name="connsiteY160" fmla="*/ 557362 h 4264910"/>
              <a:gd name="connsiteX161" fmla="*/ 1184009 w 5889610"/>
              <a:gd name="connsiteY161" fmla="*/ 583934 h 4264910"/>
              <a:gd name="connsiteX162" fmla="*/ 1148286 w 5889610"/>
              <a:gd name="connsiteY162" fmla="*/ 611040 h 4264910"/>
              <a:gd name="connsiteX163" fmla="*/ 1112991 w 5889610"/>
              <a:gd name="connsiteY163" fmla="*/ 638674 h 4264910"/>
              <a:gd name="connsiteX164" fmla="*/ 1078131 w 5889610"/>
              <a:gd name="connsiteY164" fmla="*/ 666831 h 4264910"/>
              <a:gd name="connsiteX165" fmla="*/ 1043710 w 5889610"/>
              <a:gd name="connsiteY165" fmla="*/ 695504 h 4264910"/>
              <a:gd name="connsiteX166" fmla="*/ 1009736 w 5889610"/>
              <a:gd name="connsiteY166" fmla="*/ 724688 h 4264910"/>
              <a:gd name="connsiteX167" fmla="*/ 976213 w 5889610"/>
              <a:gd name="connsiteY167" fmla="*/ 754377 h 4264910"/>
              <a:gd name="connsiteX168" fmla="*/ 943148 w 5889610"/>
              <a:gd name="connsiteY168" fmla="*/ 784566 h 4264910"/>
              <a:gd name="connsiteX169" fmla="*/ 910546 w 5889610"/>
              <a:gd name="connsiteY169" fmla="*/ 815247 h 4264910"/>
              <a:gd name="connsiteX170" fmla="*/ 878413 w 5889610"/>
              <a:gd name="connsiteY170" fmla="*/ 846416 h 4264910"/>
              <a:gd name="connsiteX171" fmla="*/ 846756 w 5889610"/>
              <a:gd name="connsiteY171" fmla="*/ 878066 h 4264910"/>
              <a:gd name="connsiteX172" fmla="*/ 815581 w 5889610"/>
              <a:gd name="connsiteY172" fmla="*/ 910192 h 4264910"/>
              <a:gd name="connsiteX173" fmla="*/ 784892 w 5889610"/>
              <a:gd name="connsiteY173" fmla="*/ 942787 h 4264910"/>
              <a:gd name="connsiteX174" fmla="*/ 754696 w 5889610"/>
              <a:gd name="connsiteY174" fmla="*/ 975846 h 4264910"/>
              <a:gd name="connsiteX175" fmla="*/ 724999 w 5889610"/>
              <a:gd name="connsiteY175" fmla="*/ 1009363 h 4264910"/>
              <a:gd name="connsiteX176" fmla="*/ 695807 w 5889610"/>
              <a:gd name="connsiteY176" fmla="*/ 1043332 h 4264910"/>
              <a:gd name="connsiteX177" fmla="*/ 667125 w 5889610"/>
              <a:gd name="connsiteY177" fmla="*/ 1077748 h 4264910"/>
              <a:gd name="connsiteX178" fmla="*/ 638960 w 5889610"/>
              <a:gd name="connsiteY178" fmla="*/ 1112604 h 4264910"/>
              <a:gd name="connsiteX179" fmla="*/ 611317 w 5889610"/>
              <a:gd name="connsiteY179" fmla="*/ 1147894 h 4264910"/>
              <a:gd name="connsiteX180" fmla="*/ 584202 w 5889610"/>
              <a:gd name="connsiteY180" fmla="*/ 1183613 h 4264910"/>
              <a:gd name="connsiteX181" fmla="*/ 557622 w 5889610"/>
              <a:gd name="connsiteY181" fmla="*/ 1219754 h 4264910"/>
              <a:gd name="connsiteX182" fmla="*/ 531582 w 5889610"/>
              <a:gd name="connsiteY182" fmla="*/ 1256313 h 4264910"/>
              <a:gd name="connsiteX183" fmla="*/ 506087 w 5889610"/>
              <a:gd name="connsiteY183" fmla="*/ 1293282 h 4264910"/>
              <a:gd name="connsiteX184" fmla="*/ 481145 w 5889610"/>
              <a:gd name="connsiteY184" fmla="*/ 1330656 h 4264910"/>
              <a:gd name="connsiteX185" fmla="*/ 456760 w 5889610"/>
              <a:gd name="connsiteY185" fmla="*/ 1368430 h 4264910"/>
              <a:gd name="connsiteX186" fmla="*/ 432939 w 5889610"/>
              <a:gd name="connsiteY186" fmla="*/ 1406597 h 4264910"/>
              <a:gd name="connsiteX187" fmla="*/ 409687 w 5889610"/>
              <a:gd name="connsiteY187" fmla="*/ 1445152 h 4264910"/>
              <a:gd name="connsiteX188" fmla="*/ 387011 w 5889610"/>
              <a:gd name="connsiteY188" fmla="*/ 1484088 h 4264910"/>
              <a:gd name="connsiteX189" fmla="*/ 364915 w 5889610"/>
              <a:gd name="connsiteY189" fmla="*/ 1523400 h 4264910"/>
              <a:gd name="connsiteX190" fmla="*/ 343407 w 5889610"/>
              <a:gd name="connsiteY190" fmla="*/ 1563082 h 4264910"/>
              <a:gd name="connsiteX191" fmla="*/ 322492 w 5889610"/>
              <a:gd name="connsiteY191" fmla="*/ 1603127 h 4264910"/>
              <a:gd name="connsiteX192" fmla="*/ 302176 w 5889610"/>
              <a:gd name="connsiteY192" fmla="*/ 1643531 h 4264910"/>
              <a:gd name="connsiteX193" fmla="*/ 282465 w 5889610"/>
              <a:gd name="connsiteY193" fmla="*/ 1684288 h 4264910"/>
              <a:gd name="connsiteX194" fmla="*/ 263365 w 5889610"/>
              <a:gd name="connsiteY194" fmla="*/ 1725390 h 4264910"/>
              <a:gd name="connsiteX195" fmla="*/ 244881 w 5889610"/>
              <a:gd name="connsiteY195" fmla="*/ 1766833 h 4264910"/>
              <a:gd name="connsiteX196" fmla="*/ 227019 w 5889610"/>
              <a:gd name="connsiteY196" fmla="*/ 1808611 h 4264910"/>
              <a:gd name="connsiteX197" fmla="*/ 209786 w 5889610"/>
              <a:gd name="connsiteY197" fmla="*/ 1850718 h 4264910"/>
              <a:gd name="connsiteX198" fmla="*/ 193187 w 5889610"/>
              <a:gd name="connsiteY198" fmla="*/ 1893147 h 4264910"/>
              <a:gd name="connsiteX199" fmla="*/ 177228 w 5889610"/>
              <a:gd name="connsiteY199" fmla="*/ 1935894 h 4264910"/>
              <a:gd name="connsiteX200" fmla="*/ 161915 w 5889610"/>
              <a:gd name="connsiteY200" fmla="*/ 1978952 h 4264910"/>
              <a:gd name="connsiteX201" fmla="*/ 147254 w 5889610"/>
              <a:gd name="connsiteY201" fmla="*/ 2022315 h 4264910"/>
              <a:gd name="connsiteX202" fmla="*/ 133251 w 5889610"/>
              <a:gd name="connsiteY202" fmla="*/ 2065977 h 4264910"/>
              <a:gd name="connsiteX203" fmla="*/ 119912 w 5889610"/>
              <a:gd name="connsiteY203" fmla="*/ 2109933 h 4264910"/>
              <a:gd name="connsiteX204" fmla="*/ 107242 w 5889610"/>
              <a:gd name="connsiteY204" fmla="*/ 2154177 h 4264910"/>
              <a:gd name="connsiteX205" fmla="*/ 95247 w 5889610"/>
              <a:gd name="connsiteY205" fmla="*/ 2198702 h 4264910"/>
              <a:gd name="connsiteX206" fmla="*/ 83934 w 5889610"/>
              <a:gd name="connsiteY206" fmla="*/ 2243504 h 4264910"/>
              <a:gd name="connsiteX207" fmla="*/ 73308 w 5889610"/>
              <a:gd name="connsiteY207" fmla="*/ 2288575 h 4264910"/>
              <a:gd name="connsiteX208" fmla="*/ 63375 w 5889610"/>
              <a:gd name="connsiteY208" fmla="*/ 2333911 h 4264910"/>
              <a:gd name="connsiteX209" fmla="*/ 54141 w 5889610"/>
              <a:gd name="connsiteY209" fmla="*/ 2379505 h 4264910"/>
              <a:gd name="connsiteX210" fmla="*/ 45613 w 5889610"/>
              <a:gd name="connsiteY210" fmla="*/ 2425352 h 4264910"/>
              <a:gd name="connsiteX211" fmla="*/ 37794 w 5889610"/>
              <a:gd name="connsiteY211" fmla="*/ 2471445 h 4264910"/>
              <a:gd name="connsiteX212" fmla="*/ 30693 w 5889610"/>
              <a:gd name="connsiteY212" fmla="*/ 2517779 h 4264910"/>
              <a:gd name="connsiteX213" fmla="*/ 24314 w 5889610"/>
              <a:gd name="connsiteY213" fmla="*/ 2564347 h 4264910"/>
              <a:gd name="connsiteX214" fmla="*/ 18663 w 5889610"/>
              <a:gd name="connsiteY214" fmla="*/ 2611145 h 4264910"/>
              <a:gd name="connsiteX215" fmla="*/ 13747 w 5889610"/>
              <a:gd name="connsiteY215" fmla="*/ 2658166 h 4264910"/>
              <a:gd name="connsiteX216" fmla="*/ 9571 w 5889610"/>
              <a:gd name="connsiteY216" fmla="*/ 2705404 h 4264910"/>
              <a:gd name="connsiteX217" fmla="*/ 6141 w 5889610"/>
              <a:gd name="connsiteY217" fmla="*/ 2752853 h 4264910"/>
              <a:gd name="connsiteX218" fmla="*/ 3463 w 5889610"/>
              <a:gd name="connsiteY218" fmla="*/ 2800508 h 4264910"/>
              <a:gd name="connsiteX219" fmla="*/ 1543 w 5889610"/>
              <a:gd name="connsiteY219" fmla="*/ 2848362 h 4264910"/>
              <a:gd name="connsiteX220" fmla="*/ 386 w 5889610"/>
              <a:gd name="connsiteY220" fmla="*/ 2896411 h 4264910"/>
              <a:gd name="connsiteX221" fmla="*/ 0 w 5889610"/>
              <a:gd name="connsiteY221"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742296 w 5889610"/>
              <a:gd name="connsiteY0" fmla="*/ 3867130 h 4264910"/>
              <a:gd name="connsiteX1" fmla="*/ 5756304 w 5889610"/>
              <a:gd name="connsiteY1" fmla="*/ 3823462 h 4264910"/>
              <a:gd name="connsiteX2" fmla="*/ 5769649 w 5889610"/>
              <a:gd name="connsiteY2" fmla="*/ 3779500 h 4264910"/>
              <a:gd name="connsiteX3" fmla="*/ 5782324 w 5889610"/>
              <a:gd name="connsiteY3" fmla="*/ 3735250 h 4264910"/>
              <a:gd name="connsiteX4" fmla="*/ 5794323 w 5889610"/>
              <a:gd name="connsiteY4" fmla="*/ 3690717 h 4264910"/>
              <a:gd name="connsiteX5" fmla="*/ 5826208 w 5889610"/>
              <a:gd name="connsiteY5" fmla="*/ 3555488 h 4264910"/>
              <a:gd name="connsiteX6" fmla="*/ 5835445 w 5889610"/>
              <a:gd name="connsiteY6" fmla="*/ 3509887 h 4264910"/>
              <a:gd name="connsiteX7" fmla="*/ 5843978 w 5889610"/>
              <a:gd name="connsiteY7" fmla="*/ 3464033 h 4264910"/>
              <a:gd name="connsiteX8" fmla="*/ 5851799 w 5889610"/>
              <a:gd name="connsiteY8" fmla="*/ 3417933 h 4264910"/>
              <a:gd name="connsiteX9" fmla="*/ 5858904 w 5889610"/>
              <a:gd name="connsiteY9" fmla="*/ 3371591 h 4264910"/>
              <a:gd name="connsiteX10" fmla="*/ 5865285 w 5889610"/>
              <a:gd name="connsiteY10" fmla="*/ 3325015 h 4264910"/>
              <a:gd name="connsiteX11" fmla="*/ 5870938 w 5889610"/>
              <a:gd name="connsiteY11" fmla="*/ 3278209 h 4264910"/>
              <a:gd name="connsiteX12" fmla="*/ 5875857 w 5889610"/>
              <a:gd name="connsiteY12" fmla="*/ 3231180 h 4264910"/>
              <a:gd name="connsiteX13" fmla="*/ 5880035 w 5889610"/>
              <a:gd name="connsiteY13" fmla="*/ 3183934 h 4264910"/>
              <a:gd name="connsiteX14" fmla="*/ 5883466 w 5889610"/>
              <a:gd name="connsiteY14" fmla="*/ 3136476 h 4264910"/>
              <a:gd name="connsiteX15" fmla="*/ 5886146 w 5889610"/>
              <a:gd name="connsiteY15" fmla="*/ 3088813 h 4264910"/>
              <a:gd name="connsiteX16" fmla="*/ 5888067 w 5889610"/>
              <a:gd name="connsiteY16" fmla="*/ 3040949 h 4264910"/>
              <a:gd name="connsiteX17" fmla="*/ 5889223 w 5889610"/>
              <a:gd name="connsiteY17" fmla="*/ 2992892 h 4264910"/>
              <a:gd name="connsiteX18" fmla="*/ 5889610 w 5889610"/>
              <a:gd name="connsiteY18" fmla="*/ 2944647 h 4264910"/>
              <a:gd name="connsiteX19" fmla="*/ 5889223 w 5889610"/>
              <a:gd name="connsiteY19" fmla="*/ 2896411 h 4264910"/>
              <a:gd name="connsiteX20" fmla="*/ 5888067 w 5889610"/>
              <a:gd name="connsiteY20" fmla="*/ 2848362 h 4264910"/>
              <a:gd name="connsiteX21" fmla="*/ 5886146 w 5889610"/>
              <a:gd name="connsiteY21" fmla="*/ 2800508 h 4264910"/>
              <a:gd name="connsiteX22" fmla="*/ 5883466 w 5889610"/>
              <a:gd name="connsiteY22" fmla="*/ 2752853 h 4264910"/>
              <a:gd name="connsiteX23" fmla="*/ 5880035 w 5889610"/>
              <a:gd name="connsiteY23" fmla="*/ 2705404 h 4264910"/>
              <a:gd name="connsiteX24" fmla="*/ 5875857 w 5889610"/>
              <a:gd name="connsiteY24" fmla="*/ 2658166 h 4264910"/>
              <a:gd name="connsiteX25" fmla="*/ 5870938 w 5889610"/>
              <a:gd name="connsiteY25" fmla="*/ 2611145 h 4264910"/>
              <a:gd name="connsiteX26" fmla="*/ 5865285 w 5889610"/>
              <a:gd name="connsiteY26" fmla="*/ 2564347 h 4264910"/>
              <a:gd name="connsiteX27" fmla="*/ 5858904 w 5889610"/>
              <a:gd name="connsiteY27" fmla="*/ 2517779 h 4264910"/>
              <a:gd name="connsiteX28" fmla="*/ 5851799 w 5889610"/>
              <a:gd name="connsiteY28" fmla="*/ 2471445 h 4264910"/>
              <a:gd name="connsiteX29" fmla="*/ 5843978 w 5889610"/>
              <a:gd name="connsiteY29" fmla="*/ 2425352 h 4264910"/>
              <a:gd name="connsiteX30" fmla="*/ 5835445 w 5889610"/>
              <a:gd name="connsiteY30" fmla="*/ 2379505 h 4264910"/>
              <a:gd name="connsiteX31" fmla="*/ 5826208 w 5889610"/>
              <a:gd name="connsiteY31" fmla="*/ 2333911 h 4264910"/>
              <a:gd name="connsiteX32" fmla="*/ 5816271 w 5889610"/>
              <a:gd name="connsiteY32" fmla="*/ 2288575 h 4264910"/>
              <a:gd name="connsiteX33" fmla="*/ 5805641 w 5889610"/>
              <a:gd name="connsiteY33" fmla="*/ 2243504 h 4264910"/>
              <a:gd name="connsiteX34" fmla="*/ 5794323 w 5889610"/>
              <a:gd name="connsiteY34" fmla="*/ 2198702 h 4264910"/>
              <a:gd name="connsiteX35" fmla="*/ 5782324 w 5889610"/>
              <a:gd name="connsiteY35" fmla="*/ 2154177 h 4264910"/>
              <a:gd name="connsiteX36" fmla="*/ 5769649 w 5889610"/>
              <a:gd name="connsiteY36" fmla="*/ 2109933 h 4264910"/>
              <a:gd name="connsiteX37" fmla="*/ 5756304 w 5889610"/>
              <a:gd name="connsiteY37" fmla="*/ 2065977 h 4264910"/>
              <a:gd name="connsiteX38" fmla="*/ 5742296 w 5889610"/>
              <a:gd name="connsiteY38" fmla="*/ 2022315 h 4264910"/>
              <a:gd name="connsiteX39" fmla="*/ 5727629 w 5889610"/>
              <a:gd name="connsiteY39" fmla="*/ 1978952 h 4264910"/>
              <a:gd name="connsiteX40" fmla="*/ 5712311 w 5889610"/>
              <a:gd name="connsiteY40" fmla="*/ 1935894 h 4264910"/>
              <a:gd name="connsiteX41" fmla="*/ 5696346 w 5889610"/>
              <a:gd name="connsiteY41" fmla="*/ 1893147 h 4264910"/>
              <a:gd name="connsiteX42" fmla="*/ 5679741 w 5889610"/>
              <a:gd name="connsiteY42" fmla="*/ 1850718 h 4264910"/>
              <a:gd name="connsiteX43" fmla="*/ 5662502 w 5889610"/>
              <a:gd name="connsiteY43" fmla="*/ 1808611 h 4264910"/>
              <a:gd name="connsiteX44" fmla="*/ 5644634 w 5889610"/>
              <a:gd name="connsiteY44" fmla="*/ 1766833 h 4264910"/>
              <a:gd name="connsiteX45" fmla="*/ 5626144 w 5889610"/>
              <a:gd name="connsiteY45" fmla="*/ 1725390 h 4264910"/>
              <a:gd name="connsiteX46" fmla="*/ 5607037 w 5889610"/>
              <a:gd name="connsiteY46" fmla="*/ 1684288 h 4264910"/>
              <a:gd name="connsiteX47" fmla="*/ 5587319 w 5889610"/>
              <a:gd name="connsiteY47" fmla="*/ 1643531 h 4264910"/>
              <a:gd name="connsiteX48" fmla="*/ 5566997 w 5889610"/>
              <a:gd name="connsiteY48" fmla="*/ 1603127 h 4264910"/>
              <a:gd name="connsiteX49" fmla="*/ 5546075 w 5889610"/>
              <a:gd name="connsiteY49" fmla="*/ 1563082 h 4264910"/>
              <a:gd name="connsiteX50" fmla="*/ 5524560 w 5889610"/>
              <a:gd name="connsiteY50" fmla="*/ 1523400 h 4264910"/>
              <a:gd name="connsiteX51" fmla="*/ 5502458 w 5889610"/>
              <a:gd name="connsiteY51" fmla="*/ 1484088 h 4264910"/>
              <a:gd name="connsiteX52" fmla="*/ 5479775 w 5889610"/>
              <a:gd name="connsiteY52" fmla="*/ 1445152 h 4264910"/>
              <a:gd name="connsiteX53" fmla="*/ 5456516 w 5889610"/>
              <a:gd name="connsiteY53" fmla="*/ 1406597 h 4264910"/>
              <a:gd name="connsiteX54" fmla="*/ 5432688 w 5889610"/>
              <a:gd name="connsiteY54" fmla="*/ 1368430 h 4264910"/>
              <a:gd name="connsiteX55" fmla="*/ 5408296 w 5889610"/>
              <a:gd name="connsiteY55" fmla="*/ 1330656 h 4264910"/>
              <a:gd name="connsiteX56" fmla="*/ 5383346 w 5889610"/>
              <a:gd name="connsiteY56" fmla="*/ 1293282 h 4264910"/>
              <a:gd name="connsiteX57" fmla="*/ 5357845 w 5889610"/>
              <a:gd name="connsiteY57" fmla="*/ 1256313 h 4264910"/>
              <a:gd name="connsiteX58" fmla="*/ 5331797 w 5889610"/>
              <a:gd name="connsiteY58" fmla="*/ 1219754 h 4264910"/>
              <a:gd name="connsiteX59" fmla="*/ 5305210 w 5889610"/>
              <a:gd name="connsiteY59" fmla="*/ 1183613 h 4264910"/>
              <a:gd name="connsiteX60" fmla="*/ 5278088 w 5889610"/>
              <a:gd name="connsiteY60" fmla="*/ 1147894 h 4264910"/>
              <a:gd name="connsiteX61" fmla="*/ 5250438 w 5889610"/>
              <a:gd name="connsiteY61" fmla="*/ 1112604 h 4264910"/>
              <a:gd name="connsiteX62" fmla="*/ 5222266 w 5889610"/>
              <a:gd name="connsiteY62" fmla="*/ 1077748 h 4264910"/>
              <a:gd name="connsiteX63" fmla="*/ 5193577 w 5889610"/>
              <a:gd name="connsiteY63" fmla="*/ 1043332 h 4264910"/>
              <a:gd name="connsiteX64" fmla="*/ 5164378 w 5889610"/>
              <a:gd name="connsiteY64" fmla="*/ 1009363 h 4264910"/>
              <a:gd name="connsiteX65" fmla="*/ 5134674 w 5889610"/>
              <a:gd name="connsiteY65" fmla="*/ 975846 h 4264910"/>
              <a:gd name="connsiteX66" fmla="*/ 5104471 w 5889610"/>
              <a:gd name="connsiteY66" fmla="*/ 942787 h 4264910"/>
              <a:gd name="connsiteX67" fmla="*/ 5073776 w 5889610"/>
              <a:gd name="connsiteY67" fmla="*/ 910192 h 4264910"/>
              <a:gd name="connsiteX68" fmla="*/ 5042593 w 5889610"/>
              <a:gd name="connsiteY68" fmla="*/ 878066 h 4264910"/>
              <a:gd name="connsiteX69" fmla="*/ 5010930 w 5889610"/>
              <a:gd name="connsiteY69" fmla="*/ 846416 h 4264910"/>
              <a:gd name="connsiteX70" fmla="*/ 4978791 w 5889610"/>
              <a:gd name="connsiteY70" fmla="*/ 815247 h 4264910"/>
              <a:gd name="connsiteX71" fmla="*/ 4946183 w 5889610"/>
              <a:gd name="connsiteY71" fmla="*/ 784566 h 4264910"/>
              <a:gd name="connsiteX72" fmla="*/ 4913111 w 5889610"/>
              <a:gd name="connsiteY72" fmla="*/ 754377 h 4264910"/>
              <a:gd name="connsiteX73" fmla="*/ 4879582 w 5889610"/>
              <a:gd name="connsiteY73" fmla="*/ 724688 h 4264910"/>
              <a:gd name="connsiteX74" fmla="*/ 4845602 w 5889610"/>
              <a:gd name="connsiteY74" fmla="*/ 695504 h 4264910"/>
              <a:gd name="connsiteX75" fmla="*/ 4811176 w 5889610"/>
              <a:gd name="connsiteY75" fmla="*/ 666831 h 4264910"/>
              <a:gd name="connsiteX76" fmla="*/ 4776309 w 5889610"/>
              <a:gd name="connsiteY76" fmla="*/ 638674 h 4264910"/>
              <a:gd name="connsiteX77" fmla="*/ 4741009 w 5889610"/>
              <a:gd name="connsiteY77" fmla="*/ 611040 h 4264910"/>
              <a:gd name="connsiteX78" fmla="*/ 4705281 w 5889610"/>
              <a:gd name="connsiteY78" fmla="*/ 583934 h 4264910"/>
              <a:gd name="connsiteX79" fmla="*/ 4669131 w 5889610"/>
              <a:gd name="connsiteY79" fmla="*/ 557362 h 4264910"/>
              <a:gd name="connsiteX80" fmla="*/ 4632565 w 5889610"/>
              <a:gd name="connsiteY80" fmla="*/ 531331 h 4264910"/>
              <a:gd name="connsiteX81" fmla="*/ 4595588 w 5889610"/>
              <a:gd name="connsiteY81" fmla="*/ 505845 h 4264910"/>
              <a:gd name="connsiteX82" fmla="*/ 4558207 w 5889610"/>
              <a:gd name="connsiteY82" fmla="*/ 480912 h 4264910"/>
              <a:gd name="connsiteX83" fmla="*/ 4520427 w 5889610"/>
              <a:gd name="connsiteY83" fmla="*/ 456536 h 4264910"/>
              <a:gd name="connsiteX84" fmla="*/ 4482255 w 5889610"/>
              <a:gd name="connsiteY84" fmla="*/ 432724 h 4264910"/>
              <a:gd name="connsiteX85" fmla="*/ 4443696 w 5889610"/>
              <a:gd name="connsiteY85" fmla="*/ 409481 h 4264910"/>
              <a:gd name="connsiteX86" fmla="*/ 4404756 w 5889610"/>
              <a:gd name="connsiteY86" fmla="*/ 386814 h 4264910"/>
              <a:gd name="connsiteX87" fmla="*/ 4365441 w 5889610"/>
              <a:gd name="connsiteY87" fmla="*/ 364727 h 4264910"/>
              <a:gd name="connsiteX88" fmla="*/ 4325757 w 5889610"/>
              <a:gd name="connsiteY88" fmla="*/ 343228 h 4264910"/>
              <a:gd name="connsiteX89" fmla="*/ 4285710 w 5889610"/>
              <a:gd name="connsiteY89" fmla="*/ 322322 h 4264910"/>
              <a:gd name="connsiteX90" fmla="*/ 4245306 w 5889610"/>
              <a:gd name="connsiteY90" fmla="*/ 302015 h 4264910"/>
              <a:gd name="connsiteX91" fmla="*/ 4204550 w 5889610"/>
              <a:gd name="connsiteY91" fmla="*/ 282313 h 4264910"/>
              <a:gd name="connsiteX92" fmla="*/ 4163449 w 5889610"/>
              <a:gd name="connsiteY92" fmla="*/ 263221 h 4264910"/>
              <a:gd name="connsiteX93" fmla="*/ 4122008 w 5889610"/>
              <a:gd name="connsiteY93" fmla="*/ 244746 h 4264910"/>
              <a:gd name="connsiteX94" fmla="*/ 4080233 w 5889610"/>
              <a:gd name="connsiteY94" fmla="*/ 226893 h 4264910"/>
              <a:gd name="connsiteX95" fmla="*/ 4038131 w 5889610"/>
              <a:gd name="connsiteY95" fmla="*/ 209668 h 4264910"/>
              <a:gd name="connsiteX96" fmla="*/ 3995707 w 5889610"/>
              <a:gd name="connsiteY96" fmla="*/ 193077 h 4264910"/>
              <a:gd name="connsiteX97" fmla="*/ 3952967 w 5889610"/>
              <a:gd name="connsiteY97" fmla="*/ 177126 h 4264910"/>
              <a:gd name="connsiteX98" fmla="*/ 3909916 w 5889610"/>
              <a:gd name="connsiteY98" fmla="*/ 161821 h 4264910"/>
              <a:gd name="connsiteX99" fmla="*/ 3866562 w 5889610"/>
              <a:gd name="connsiteY99" fmla="*/ 147168 h 4264910"/>
              <a:gd name="connsiteX100" fmla="*/ 3822909 w 5889610"/>
              <a:gd name="connsiteY100" fmla="*/ 133172 h 4264910"/>
              <a:gd name="connsiteX101" fmla="*/ 3778964 w 5889610"/>
              <a:gd name="connsiteY101" fmla="*/ 119840 h 4264910"/>
              <a:gd name="connsiteX102" fmla="*/ 3734732 w 5889610"/>
              <a:gd name="connsiteY102" fmla="*/ 107177 h 4264910"/>
              <a:gd name="connsiteX103" fmla="*/ 3690220 w 5889610"/>
              <a:gd name="connsiteY103" fmla="*/ 95189 h 4264910"/>
              <a:gd name="connsiteX104" fmla="*/ 3645433 w 5889610"/>
              <a:gd name="connsiteY104" fmla="*/ 83883 h 4264910"/>
              <a:gd name="connsiteX105" fmla="*/ 3600377 w 5889610"/>
              <a:gd name="connsiteY105" fmla="*/ 73263 h 4264910"/>
              <a:gd name="connsiteX106" fmla="*/ 3555058 w 5889610"/>
              <a:gd name="connsiteY106" fmla="*/ 63336 h 4264910"/>
              <a:gd name="connsiteX107" fmla="*/ 3509482 w 5889610"/>
              <a:gd name="connsiteY107" fmla="*/ 54107 h 4264910"/>
              <a:gd name="connsiteX108" fmla="*/ 3463655 w 5889610"/>
              <a:gd name="connsiteY108" fmla="*/ 45584 h 4264910"/>
              <a:gd name="connsiteX109" fmla="*/ 3417583 w 5889610"/>
              <a:gd name="connsiteY109" fmla="*/ 37770 h 4264910"/>
              <a:gd name="connsiteX110" fmla="*/ 3371271 w 5889610"/>
              <a:gd name="connsiteY110" fmla="*/ 30673 h 4264910"/>
              <a:gd name="connsiteX111" fmla="*/ 3324726 w 5889610"/>
              <a:gd name="connsiteY111" fmla="*/ 24298 h 4264910"/>
              <a:gd name="connsiteX112" fmla="*/ 3277953 w 5889610"/>
              <a:gd name="connsiteY112" fmla="*/ 18651 h 4264910"/>
              <a:gd name="connsiteX113" fmla="*/ 3230959 w 5889610"/>
              <a:gd name="connsiteY113" fmla="*/ 13738 h 4264910"/>
              <a:gd name="connsiteX114" fmla="*/ 3183749 w 5889610"/>
              <a:gd name="connsiteY114" fmla="*/ 9564 h 4264910"/>
              <a:gd name="connsiteX115" fmla="*/ 3136329 w 5889610"/>
              <a:gd name="connsiteY115" fmla="*/ 6137 h 4264910"/>
              <a:gd name="connsiteX116" fmla="*/ 3088705 w 5889610"/>
              <a:gd name="connsiteY116" fmla="*/ 3461 h 4264910"/>
              <a:gd name="connsiteX117" fmla="*/ 3040883 w 5889610"/>
              <a:gd name="connsiteY117" fmla="*/ 1542 h 4264910"/>
              <a:gd name="connsiteX118" fmla="*/ 2992869 w 5889610"/>
              <a:gd name="connsiteY118" fmla="*/ 386 h 4264910"/>
              <a:gd name="connsiteX119" fmla="*/ 2944668 w 5889610"/>
              <a:gd name="connsiteY119" fmla="*/ 0 h 4264910"/>
              <a:gd name="connsiteX120" fmla="*/ 2896458 w 5889610"/>
              <a:gd name="connsiteY120" fmla="*/ 386 h 4264910"/>
              <a:gd name="connsiteX121" fmla="*/ 2848435 w 5889610"/>
              <a:gd name="connsiteY121" fmla="*/ 1542 h 4264910"/>
              <a:gd name="connsiteX122" fmla="*/ 2800604 w 5889610"/>
              <a:gd name="connsiteY122" fmla="*/ 3461 h 4264910"/>
              <a:gd name="connsiteX123" fmla="*/ 2752972 w 5889610"/>
              <a:gd name="connsiteY123" fmla="*/ 6137 h 4264910"/>
              <a:gd name="connsiteX124" fmla="*/ 2705544 w 5889610"/>
              <a:gd name="connsiteY124" fmla="*/ 9564 h 4264910"/>
              <a:gd name="connsiteX125" fmla="*/ 2658327 w 5889610"/>
              <a:gd name="connsiteY125" fmla="*/ 13738 h 4264910"/>
              <a:gd name="connsiteX126" fmla="*/ 2611326 w 5889610"/>
              <a:gd name="connsiteY126" fmla="*/ 18651 h 4264910"/>
              <a:gd name="connsiteX127" fmla="*/ 2564548 w 5889610"/>
              <a:gd name="connsiteY127" fmla="*/ 24298 h 4264910"/>
              <a:gd name="connsiteX128" fmla="*/ 2517997 w 5889610"/>
              <a:gd name="connsiteY128" fmla="*/ 30673 h 4264910"/>
              <a:gd name="connsiteX129" fmla="*/ 2471680 w 5889610"/>
              <a:gd name="connsiteY129" fmla="*/ 37770 h 4264910"/>
              <a:gd name="connsiteX130" fmla="*/ 2425603 w 5889610"/>
              <a:gd name="connsiteY130" fmla="*/ 45584 h 4264910"/>
              <a:gd name="connsiteX131" fmla="*/ 2379772 w 5889610"/>
              <a:gd name="connsiteY131" fmla="*/ 54107 h 4264910"/>
              <a:gd name="connsiteX132" fmla="*/ 2334192 w 5889610"/>
              <a:gd name="connsiteY132" fmla="*/ 63336 h 4264910"/>
              <a:gd name="connsiteX133" fmla="*/ 2288870 w 5889610"/>
              <a:gd name="connsiteY133" fmla="*/ 73263 h 4264910"/>
              <a:gd name="connsiteX134" fmla="*/ 2243811 w 5889610"/>
              <a:gd name="connsiteY134" fmla="*/ 83883 h 4264910"/>
              <a:gd name="connsiteX135" fmla="*/ 2199022 w 5889610"/>
              <a:gd name="connsiteY135" fmla="*/ 95189 h 4264910"/>
              <a:gd name="connsiteX136" fmla="*/ 2154507 w 5889610"/>
              <a:gd name="connsiteY136" fmla="*/ 107177 h 4264910"/>
              <a:gd name="connsiteX137" fmla="*/ 2110274 w 5889610"/>
              <a:gd name="connsiteY137" fmla="*/ 119840 h 4264910"/>
              <a:gd name="connsiteX138" fmla="*/ 2066327 w 5889610"/>
              <a:gd name="connsiteY138" fmla="*/ 133172 h 4264910"/>
              <a:gd name="connsiteX139" fmla="*/ 2022674 w 5889610"/>
              <a:gd name="connsiteY139" fmla="*/ 147168 h 4264910"/>
              <a:gd name="connsiteX140" fmla="*/ 1979319 w 5889610"/>
              <a:gd name="connsiteY140" fmla="*/ 161821 h 4264910"/>
              <a:gd name="connsiteX141" fmla="*/ 1936268 w 5889610"/>
              <a:gd name="connsiteY141" fmla="*/ 177126 h 4264910"/>
              <a:gd name="connsiteX142" fmla="*/ 1893528 w 5889610"/>
              <a:gd name="connsiteY142" fmla="*/ 193077 h 4264910"/>
              <a:gd name="connsiteX143" fmla="*/ 1851105 w 5889610"/>
              <a:gd name="connsiteY143" fmla="*/ 209668 h 4264910"/>
              <a:gd name="connsiteX144" fmla="*/ 1809003 w 5889610"/>
              <a:gd name="connsiteY144" fmla="*/ 226893 h 4264910"/>
              <a:gd name="connsiteX145" fmla="*/ 1767230 w 5889610"/>
              <a:gd name="connsiteY145" fmla="*/ 244746 h 4264910"/>
              <a:gd name="connsiteX146" fmla="*/ 1725791 w 5889610"/>
              <a:gd name="connsiteY146" fmla="*/ 263221 h 4264910"/>
              <a:gd name="connsiteX147" fmla="*/ 1684691 w 5889610"/>
              <a:gd name="connsiteY147" fmla="*/ 282313 h 4264910"/>
              <a:gd name="connsiteX148" fmla="*/ 1643938 w 5889610"/>
              <a:gd name="connsiteY148" fmla="*/ 302015 h 4264910"/>
              <a:gd name="connsiteX149" fmla="*/ 1603536 w 5889610"/>
              <a:gd name="connsiteY149" fmla="*/ 322322 h 4264910"/>
              <a:gd name="connsiteX150" fmla="*/ 1563492 w 5889610"/>
              <a:gd name="connsiteY150" fmla="*/ 343228 h 4264910"/>
              <a:gd name="connsiteX151" fmla="*/ 1523811 w 5889610"/>
              <a:gd name="connsiteY151" fmla="*/ 364727 h 4264910"/>
              <a:gd name="connsiteX152" fmla="*/ 1484499 w 5889610"/>
              <a:gd name="connsiteY152" fmla="*/ 386814 h 4264910"/>
              <a:gd name="connsiteX153" fmla="*/ 1445563 w 5889610"/>
              <a:gd name="connsiteY153" fmla="*/ 409481 h 4264910"/>
              <a:gd name="connsiteX154" fmla="*/ 1407007 w 5889610"/>
              <a:gd name="connsiteY154" fmla="*/ 432724 h 4264910"/>
              <a:gd name="connsiteX155" fmla="*/ 1368839 w 5889610"/>
              <a:gd name="connsiteY155" fmla="*/ 456536 h 4264910"/>
              <a:gd name="connsiteX156" fmla="*/ 1331064 w 5889610"/>
              <a:gd name="connsiteY156" fmla="*/ 480912 h 4264910"/>
              <a:gd name="connsiteX157" fmla="*/ 1293687 w 5889610"/>
              <a:gd name="connsiteY157" fmla="*/ 505845 h 4264910"/>
              <a:gd name="connsiteX158" fmla="*/ 1256715 w 5889610"/>
              <a:gd name="connsiteY158" fmla="*/ 531331 h 4264910"/>
              <a:gd name="connsiteX159" fmla="*/ 1220154 w 5889610"/>
              <a:gd name="connsiteY159" fmla="*/ 557362 h 4264910"/>
              <a:gd name="connsiteX160" fmla="*/ 1184009 w 5889610"/>
              <a:gd name="connsiteY160" fmla="*/ 583934 h 4264910"/>
              <a:gd name="connsiteX161" fmla="*/ 1148286 w 5889610"/>
              <a:gd name="connsiteY161" fmla="*/ 611040 h 4264910"/>
              <a:gd name="connsiteX162" fmla="*/ 1112991 w 5889610"/>
              <a:gd name="connsiteY162" fmla="*/ 638674 h 4264910"/>
              <a:gd name="connsiteX163" fmla="*/ 1078131 w 5889610"/>
              <a:gd name="connsiteY163" fmla="*/ 666831 h 4264910"/>
              <a:gd name="connsiteX164" fmla="*/ 1043710 w 5889610"/>
              <a:gd name="connsiteY164" fmla="*/ 695504 h 4264910"/>
              <a:gd name="connsiteX165" fmla="*/ 1009736 w 5889610"/>
              <a:gd name="connsiteY165" fmla="*/ 724688 h 4264910"/>
              <a:gd name="connsiteX166" fmla="*/ 976213 w 5889610"/>
              <a:gd name="connsiteY166" fmla="*/ 754377 h 4264910"/>
              <a:gd name="connsiteX167" fmla="*/ 943148 w 5889610"/>
              <a:gd name="connsiteY167" fmla="*/ 784566 h 4264910"/>
              <a:gd name="connsiteX168" fmla="*/ 910546 w 5889610"/>
              <a:gd name="connsiteY168" fmla="*/ 815247 h 4264910"/>
              <a:gd name="connsiteX169" fmla="*/ 878413 w 5889610"/>
              <a:gd name="connsiteY169" fmla="*/ 846416 h 4264910"/>
              <a:gd name="connsiteX170" fmla="*/ 846756 w 5889610"/>
              <a:gd name="connsiteY170" fmla="*/ 878066 h 4264910"/>
              <a:gd name="connsiteX171" fmla="*/ 815581 w 5889610"/>
              <a:gd name="connsiteY171" fmla="*/ 910192 h 4264910"/>
              <a:gd name="connsiteX172" fmla="*/ 784892 w 5889610"/>
              <a:gd name="connsiteY172" fmla="*/ 942787 h 4264910"/>
              <a:gd name="connsiteX173" fmla="*/ 754696 w 5889610"/>
              <a:gd name="connsiteY173" fmla="*/ 975846 h 4264910"/>
              <a:gd name="connsiteX174" fmla="*/ 724999 w 5889610"/>
              <a:gd name="connsiteY174" fmla="*/ 1009363 h 4264910"/>
              <a:gd name="connsiteX175" fmla="*/ 695807 w 5889610"/>
              <a:gd name="connsiteY175" fmla="*/ 1043332 h 4264910"/>
              <a:gd name="connsiteX176" fmla="*/ 667125 w 5889610"/>
              <a:gd name="connsiteY176" fmla="*/ 1077748 h 4264910"/>
              <a:gd name="connsiteX177" fmla="*/ 638960 w 5889610"/>
              <a:gd name="connsiteY177" fmla="*/ 1112604 h 4264910"/>
              <a:gd name="connsiteX178" fmla="*/ 611317 w 5889610"/>
              <a:gd name="connsiteY178" fmla="*/ 1147894 h 4264910"/>
              <a:gd name="connsiteX179" fmla="*/ 584202 w 5889610"/>
              <a:gd name="connsiteY179" fmla="*/ 1183613 h 4264910"/>
              <a:gd name="connsiteX180" fmla="*/ 557622 w 5889610"/>
              <a:gd name="connsiteY180" fmla="*/ 1219754 h 4264910"/>
              <a:gd name="connsiteX181" fmla="*/ 531582 w 5889610"/>
              <a:gd name="connsiteY181" fmla="*/ 1256313 h 4264910"/>
              <a:gd name="connsiteX182" fmla="*/ 506087 w 5889610"/>
              <a:gd name="connsiteY182" fmla="*/ 1293282 h 4264910"/>
              <a:gd name="connsiteX183" fmla="*/ 481145 w 5889610"/>
              <a:gd name="connsiteY183" fmla="*/ 1330656 h 4264910"/>
              <a:gd name="connsiteX184" fmla="*/ 456760 w 5889610"/>
              <a:gd name="connsiteY184" fmla="*/ 1368430 h 4264910"/>
              <a:gd name="connsiteX185" fmla="*/ 432939 w 5889610"/>
              <a:gd name="connsiteY185" fmla="*/ 1406597 h 4264910"/>
              <a:gd name="connsiteX186" fmla="*/ 409687 w 5889610"/>
              <a:gd name="connsiteY186" fmla="*/ 1445152 h 4264910"/>
              <a:gd name="connsiteX187" fmla="*/ 387011 w 5889610"/>
              <a:gd name="connsiteY187" fmla="*/ 1484088 h 4264910"/>
              <a:gd name="connsiteX188" fmla="*/ 364915 w 5889610"/>
              <a:gd name="connsiteY188" fmla="*/ 1523400 h 4264910"/>
              <a:gd name="connsiteX189" fmla="*/ 343407 w 5889610"/>
              <a:gd name="connsiteY189" fmla="*/ 1563082 h 4264910"/>
              <a:gd name="connsiteX190" fmla="*/ 322492 w 5889610"/>
              <a:gd name="connsiteY190" fmla="*/ 1603127 h 4264910"/>
              <a:gd name="connsiteX191" fmla="*/ 302176 w 5889610"/>
              <a:gd name="connsiteY191" fmla="*/ 1643531 h 4264910"/>
              <a:gd name="connsiteX192" fmla="*/ 282465 w 5889610"/>
              <a:gd name="connsiteY192" fmla="*/ 1684288 h 4264910"/>
              <a:gd name="connsiteX193" fmla="*/ 263365 w 5889610"/>
              <a:gd name="connsiteY193" fmla="*/ 1725390 h 4264910"/>
              <a:gd name="connsiteX194" fmla="*/ 244881 w 5889610"/>
              <a:gd name="connsiteY194" fmla="*/ 1766833 h 4264910"/>
              <a:gd name="connsiteX195" fmla="*/ 227019 w 5889610"/>
              <a:gd name="connsiteY195" fmla="*/ 1808611 h 4264910"/>
              <a:gd name="connsiteX196" fmla="*/ 209786 w 5889610"/>
              <a:gd name="connsiteY196" fmla="*/ 1850718 h 4264910"/>
              <a:gd name="connsiteX197" fmla="*/ 193187 w 5889610"/>
              <a:gd name="connsiteY197" fmla="*/ 1893147 h 4264910"/>
              <a:gd name="connsiteX198" fmla="*/ 177228 w 5889610"/>
              <a:gd name="connsiteY198" fmla="*/ 1935894 h 4264910"/>
              <a:gd name="connsiteX199" fmla="*/ 161915 w 5889610"/>
              <a:gd name="connsiteY199" fmla="*/ 1978952 h 4264910"/>
              <a:gd name="connsiteX200" fmla="*/ 147254 w 5889610"/>
              <a:gd name="connsiteY200" fmla="*/ 2022315 h 4264910"/>
              <a:gd name="connsiteX201" fmla="*/ 133251 w 5889610"/>
              <a:gd name="connsiteY201" fmla="*/ 2065977 h 4264910"/>
              <a:gd name="connsiteX202" fmla="*/ 119912 w 5889610"/>
              <a:gd name="connsiteY202" fmla="*/ 2109933 h 4264910"/>
              <a:gd name="connsiteX203" fmla="*/ 107242 w 5889610"/>
              <a:gd name="connsiteY203" fmla="*/ 2154177 h 4264910"/>
              <a:gd name="connsiteX204" fmla="*/ 95247 w 5889610"/>
              <a:gd name="connsiteY204" fmla="*/ 2198702 h 4264910"/>
              <a:gd name="connsiteX205" fmla="*/ 83934 w 5889610"/>
              <a:gd name="connsiteY205" fmla="*/ 2243504 h 4264910"/>
              <a:gd name="connsiteX206" fmla="*/ 73308 w 5889610"/>
              <a:gd name="connsiteY206" fmla="*/ 2288575 h 4264910"/>
              <a:gd name="connsiteX207" fmla="*/ 63375 w 5889610"/>
              <a:gd name="connsiteY207" fmla="*/ 2333911 h 4264910"/>
              <a:gd name="connsiteX208" fmla="*/ 54141 w 5889610"/>
              <a:gd name="connsiteY208" fmla="*/ 2379505 h 4264910"/>
              <a:gd name="connsiteX209" fmla="*/ 45613 w 5889610"/>
              <a:gd name="connsiteY209" fmla="*/ 2425352 h 4264910"/>
              <a:gd name="connsiteX210" fmla="*/ 37794 w 5889610"/>
              <a:gd name="connsiteY210" fmla="*/ 2471445 h 4264910"/>
              <a:gd name="connsiteX211" fmla="*/ 30693 w 5889610"/>
              <a:gd name="connsiteY211" fmla="*/ 2517779 h 4264910"/>
              <a:gd name="connsiteX212" fmla="*/ 24314 w 5889610"/>
              <a:gd name="connsiteY212" fmla="*/ 2564347 h 4264910"/>
              <a:gd name="connsiteX213" fmla="*/ 18663 w 5889610"/>
              <a:gd name="connsiteY213" fmla="*/ 2611145 h 4264910"/>
              <a:gd name="connsiteX214" fmla="*/ 13747 w 5889610"/>
              <a:gd name="connsiteY214" fmla="*/ 2658166 h 4264910"/>
              <a:gd name="connsiteX215" fmla="*/ 9571 w 5889610"/>
              <a:gd name="connsiteY215" fmla="*/ 2705404 h 4264910"/>
              <a:gd name="connsiteX216" fmla="*/ 6141 w 5889610"/>
              <a:gd name="connsiteY216" fmla="*/ 2752853 h 4264910"/>
              <a:gd name="connsiteX217" fmla="*/ 3463 w 5889610"/>
              <a:gd name="connsiteY217" fmla="*/ 2800508 h 4264910"/>
              <a:gd name="connsiteX218" fmla="*/ 1543 w 5889610"/>
              <a:gd name="connsiteY218" fmla="*/ 2848362 h 4264910"/>
              <a:gd name="connsiteX219" fmla="*/ 386 w 5889610"/>
              <a:gd name="connsiteY219" fmla="*/ 2896411 h 4264910"/>
              <a:gd name="connsiteX220" fmla="*/ 0 w 5889610"/>
              <a:gd name="connsiteY220"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756304 w 5889610"/>
              <a:gd name="connsiteY0" fmla="*/ 3823462 h 4264910"/>
              <a:gd name="connsiteX1" fmla="*/ 5769649 w 5889610"/>
              <a:gd name="connsiteY1" fmla="*/ 3779500 h 4264910"/>
              <a:gd name="connsiteX2" fmla="*/ 5782324 w 5889610"/>
              <a:gd name="connsiteY2" fmla="*/ 3735250 h 4264910"/>
              <a:gd name="connsiteX3" fmla="*/ 5794323 w 5889610"/>
              <a:gd name="connsiteY3" fmla="*/ 3690717 h 4264910"/>
              <a:gd name="connsiteX4" fmla="*/ 5826208 w 5889610"/>
              <a:gd name="connsiteY4" fmla="*/ 3555488 h 4264910"/>
              <a:gd name="connsiteX5" fmla="*/ 5835445 w 5889610"/>
              <a:gd name="connsiteY5" fmla="*/ 3509887 h 4264910"/>
              <a:gd name="connsiteX6" fmla="*/ 5843978 w 5889610"/>
              <a:gd name="connsiteY6" fmla="*/ 3464033 h 4264910"/>
              <a:gd name="connsiteX7" fmla="*/ 5851799 w 5889610"/>
              <a:gd name="connsiteY7" fmla="*/ 3417933 h 4264910"/>
              <a:gd name="connsiteX8" fmla="*/ 5858904 w 5889610"/>
              <a:gd name="connsiteY8" fmla="*/ 3371591 h 4264910"/>
              <a:gd name="connsiteX9" fmla="*/ 5865285 w 5889610"/>
              <a:gd name="connsiteY9" fmla="*/ 3325015 h 4264910"/>
              <a:gd name="connsiteX10" fmla="*/ 5870938 w 5889610"/>
              <a:gd name="connsiteY10" fmla="*/ 3278209 h 4264910"/>
              <a:gd name="connsiteX11" fmla="*/ 5875857 w 5889610"/>
              <a:gd name="connsiteY11" fmla="*/ 3231180 h 4264910"/>
              <a:gd name="connsiteX12" fmla="*/ 5880035 w 5889610"/>
              <a:gd name="connsiteY12" fmla="*/ 3183934 h 4264910"/>
              <a:gd name="connsiteX13" fmla="*/ 5883466 w 5889610"/>
              <a:gd name="connsiteY13" fmla="*/ 3136476 h 4264910"/>
              <a:gd name="connsiteX14" fmla="*/ 5886146 w 5889610"/>
              <a:gd name="connsiteY14" fmla="*/ 3088813 h 4264910"/>
              <a:gd name="connsiteX15" fmla="*/ 5888067 w 5889610"/>
              <a:gd name="connsiteY15" fmla="*/ 3040949 h 4264910"/>
              <a:gd name="connsiteX16" fmla="*/ 5889223 w 5889610"/>
              <a:gd name="connsiteY16" fmla="*/ 2992892 h 4264910"/>
              <a:gd name="connsiteX17" fmla="*/ 5889610 w 5889610"/>
              <a:gd name="connsiteY17" fmla="*/ 2944647 h 4264910"/>
              <a:gd name="connsiteX18" fmla="*/ 5889223 w 5889610"/>
              <a:gd name="connsiteY18" fmla="*/ 2896411 h 4264910"/>
              <a:gd name="connsiteX19" fmla="*/ 5888067 w 5889610"/>
              <a:gd name="connsiteY19" fmla="*/ 2848362 h 4264910"/>
              <a:gd name="connsiteX20" fmla="*/ 5886146 w 5889610"/>
              <a:gd name="connsiteY20" fmla="*/ 2800508 h 4264910"/>
              <a:gd name="connsiteX21" fmla="*/ 5883466 w 5889610"/>
              <a:gd name="connsiteY21" fmla="*/ 2752853 h 4264910"/>
              <a:gd name="connsiteX22" fmla="*/ 5880035 w 5889610"/>
              <a:gd name="connsiteY22" fmla="*/ 2705404 h 4264910"/>
              <a:gd name="connsiteX23" fmla="*/ 5875857 w 5889610"/>
              <a:gd name="connsiteY23" fmla="*/ 2658166 h 4264910"/>
              <a:gd name="connsiteX24" fmla="*/ 5870938 w 5889610"/>
              <a:gd name="connsiteY24" fmla="*/ 2611145 h 4264910"/>
              <a:gd name="connsiteX25" fmla="*/ 5865285 w 5889610"/>
              <a:gd name="connsiteY25" fmla="*/ 2564347 h 4264910"/>
              <a:gd name="connsiteX26" fmla="*/ 5858904 w 5889610"/>
              <a:gd name="connsiteY26" fmla="*/ 2517779 h 4264910"/>
              <a:gd name="connsiteX27" fmla="*/ 5851799 w 5889610"/>
              <a:gd name="connsiteY27" fmla="*/ 2471445 h 4264910"/>
              <a:gd name="connsiteX28" fmla="*/ 5843978 w 5889610"/>
              <a:gd name="connsiteY28" fmla="*/ 2425352 h 4264910"/>
              <a:gd name="connsiteX29" fmla="*/ 5835445 w 5889610"/>
              <a:gd name="connsiteY29" fmla="*/ 2379505 h 4264910"/>
              <a:gd name="connsiteX30" fmla="*/ 5826208 w 5889610"/>
              <a:gd name="connsiteY30" fmla="*/ 2333911 h 4264910"/>
              <a:gd name="connsiteX31" fmla="*/ 5816271 w 5889610"/>
              <a:gd name="connsiteY31" fmla="*/ 2288575 h 4264910"/>
              <a:gd name="connsiteX32" fmla="*/ 5805641 w 5889610"/>
              <a:gd name="connsiteY32" fmla="*/ 2243504 h 4264910"/>
              <a:gd name="connsiteX33" fmla="*/ 5794323 w 5889610"/>
              <a:gd name="connsiteY33" fmla="*/ 2198702 h 4264910"/>
              <a:gd name="connsiteX34" fmla="*/ 5782324 w 5889610"/>
              <a:gd name="connsiteY34" fmla="*/ 2154177 h 4264910"/>
              <a:gd name="connsiteX35" fmla="*/ 5769649 w 5889610"/>
              <a:gd name="connsiteY35" fmla="*/ 2109933 h 4264910"/>
              <a:gd name="connsiteX36" fmla="*/ 5756304 w 5889610"/>
              <a:gd name="connsiteY36" fmla="*/ 2065977 h 4264910"/>
              <a:gd name="connsiteX37" fmla="*/ 5742296 w 5889610"/>
              <a:gd name="connsiteY37" fmla="*/ 2022315 h 4264910"/>
              <a:gd name="connsiteX38" fmla="*/ 5727629 w 5889610"/>
              <a:gd name="connsiteY38" fmla="*/ 1978952 h 4264910"/>
              <a:gd name="connsiteX39" fmla="*/ 5712311 w 5889610"/>
              <a:gd name="connsiteY39" fmla="*/ 1935894 h 4264910"/>
              <a:gd name="connsiteX40" fmla="*/ 5696346 w 5889610"/>
              <a:gd name="connsiteY40" fmla="*/ 1893147 h 4264910"/>
              <a:gd name="connsiteX41" fmla="*/ 5679741 w 5889610"/>
              <a:gd name="connsiteY41" fmla="*/ 1850718 h 4264910"/>
              <a:gd name="connsiteX42" fmla="*/ 5662502 w 5889610"/>
              <a:gd name="connsiteY42" fmla="*/ 1808611 h 4264910"/>
              <a:gd name="connsiteX43" fmla="*/ 5644634 w 5889610"/>
              <a:gd name="connsiteY43" fmla="*/ 1766833 h 4264910"/>
              <a:gd name="connsiteX44" fmla="*/ 5626144 w 5889610"/>
              <a:gd name="connsiteY44" fmla="*/ 1725390 h 4264910"/>
              <a:gd name="connsiteX45" fmla="*/ 5607037 w 5889610"/>
              <a:gd name="connsiteY45" fmla="*/ 1684288 h 4264910"/>
              <a:gd name="connsiteX46" fmla="*/ 5587319 w 5889610"/>
              <a:gd name="connsiteY46" fmla="*/ 1643531 h 4264910"/>
              <a:gd name="connsiteX47" fmla="*/ 5566997 w 5889610"/>
              <a:gd name="connsiteY47" fmla="*/ 1603127 h 4264910"/>
              <a:gd name="connsiteX48" fmla="*/ 5546075 w 5889610"/>
              <a:gd name="connsiteY48" fmla="*/ 1563082 h 4264910"/>
              <a:gd name="connsiteX49" fmla="*/ 5524560 w 5889610"/>
              <a:gd name="connsiteY49" fmla="*/ 1523400 h 4264910"/>
              <a:gd name="connsiteX50" fmla="*/ 5502458 w 5889610"/>
              <a:gd name="connsiteY50" fmla="*/ 1484088 h 4264910"/>
              <a:gd name="connsiteX51" fmla="*/ 5479775 w 5889610"/>
              <a:gd name="connsiteY51" fmla="*/ 1445152 h 4264910"/>
              <a:gd name="connsiteX52" fmla="*/ 5456516 w 5889610"/>
              <a:gd name="connsiteY52" fmla="*/ 1406597 h 4264910"/>
              <a:gd name="connsiteX53" fmla="*/ 5432688 w 5889610"/>
              <a:gd name="connsiteY53" fmla="*/ 1368430 h 4264910"/>
              <a:gd name="connsiteX54" fmla="*/ 5408296 w 5889610"/>
              <a:gd name="connsiteY54" fmla="*/ 1330656 h 4264910"/>
              <a:gd name="connsiteX55" fmla="*/ 5383346 w 5889610"/>
              <a:gd name="connsiteY55" fmla="*/ 1293282 h 4264910"/>
              <a:gd name="connsiteX56" fmla="*/ 5357845 w 5889610"/>
              <a:gd name="connsiteY56" fmla="*/ 1256313 h 4264910"/>
              <a:gd name="connsiteX57" fmla="*/ 5331797 w 5889610"/>
              <a:gd name="connsiteY57" fmla="*/ 1219754 h 4264910"/>
              <a:gd name="connsiteX58" fmla="*/ 5305210 w 5889610"/>
              <a:gd name="connsiteY58" fmla="*/ 1183613 h 4264910"/>
              <a:gd name="connsiteX59" fmla="*/ 5278088 w 5889610"/>
              <a:gd name="connsiteY59" fmla="*/ 1147894 h 4264910"/>
              <a:gd name="connsiteX60" fmla="*/ 5250438 w 5889610"/>
              <a:gd name="connsiteY60" fmla="*/ 1112604 h 4264910"/>
              <a:gd name="connsiteX61" fmla="*/ 5222266 w 5889610"/>
              <a:gd name="connsiteY61" fmla="*/ 1077748 h 4264910"/>
              <a:gd name="connsiteX62" fmla="*/ 5193577 w 5889610"/>
              <a:gd name="connsiteY62" fmla="*/ 1043332 h 4264910"/>
              <a:gd name="connsiteX63" fmla="*/ 5164378 w 5889610"/>
              <a:gd name="connsiteY63" fmla="*/ 1009363 h 4264910"/>
              <a:gd name="connsiteX64" fmla="*/ 5134674 w 5889610"/>
              <a:gd name="connsiteY64" fmla="*/ 975846 h 4264910"/>
              <a:gd name="connsiteX65" fmla="*/ 5104471 w 5889610"/>
              <a:gd name="connsiteY65" fmla="*/ 942787 h 4264910"/>
              <a:gd name="connsiteX66" fmla="*/ 5073776 w 5889610"/>
              <a:gd name="connsiteY66" fmla="*/ 910192 h 4264910"/>
              <a:gd name="connsiteX67" fmla="*/ 5042593 w 5889610"/>
              <a:gd name="connsiteY67" fmla="*/ 878066 h 4264910"/>
              <a:gd name="connsiteX68" fmla="*/ 5010930 w 5889610"/>
              <a:gd name="connsiteY68" fmla="*/ 846416 h 4264910"/>
              <a:gd name="connsiteX69" fmla="*/ 4978791 w 5889610"/>
              <a:gd name="connsiteY69" fmla="*/ 815247 h 4264910"/>
              <a:gd name="connsiteX70" fmla="*/ 4946183 w 5889610"/>
              <a:gd name="connsiteY70" fmla="*/ 784566 h 4264910"/>
              <a:gd name="connsiteX71" fmla="*/ 4913111 w 5889610"/>
              <a:gd name="connsiteY71" fmla="*/ 754377 h 4264910"/>
              <a:gd name="connsiteX72" fmla="*/ 4879582 w 5889610"/>
              <a:gd name="connsiteY72" fmla="*/ 724688 h 4264910"/>
              <a:gd name="connsiteX73" fmla="*/ 4845602 w 5889610"/>
              <a:gd name="connsiteY73" fmla="*/ 695504 h 4264910"/>
              <a:gd name="connsiteX74" fmla="*/ 4811176 w 5889610"/>
              <a:gd name="connsiteY74" fmla="*/ 666831 h 4264910"/>
              <a:gd name="connsiteX75" fmla="*/ 4776309 w 5889610"/>
              <a:gd name="connsiteY75" fmla="*/ 638674 h 4264910"/>
              <a:gd name="connsiteX76" fmla="*/ 4741009 w 5889610"/>
              <a:gd name="connsiteY76" fmla="*/ 611040 h 4264910"/>
              <a:gd name="connsiteX77" fmla="*/ 4705281 w 5889610"/>
              <a:gd name="connsiteY77" fmla="*/ 583934 h 4264910"/>
              <a:gd name="connsiteX78" fmla="*/ 4669131 w 5889610"/>
              <a:gd name="connsiteY78" fmla="*/ 557362 h 4264910"/>
              <a:gd name="connsiteX79" fmla="*/ 4632565 w 5889610"/>
              <a:gd name="connsiteY79" fmla="*/ 531331 h 4264910"/>
              <a:gd name="connsiteX80" fmla="*/ 4595588 w 5889610"/>
              <a:gd name="connsiteY80" fmla="*/ 505845 h 4264910"/>
              <a:gd name="connsiteX81" fmla="*/ 4558207 w 5889610"/>
              <a:gd name="connsiteY81" fmla="*/ 480912 h 4264910"/>
              <a:gd name="connsiteX82" fmla="*/ 4520427 w 5889610"/>
              <a:gd name="connsiteY82" fmla="*/ 456536 h 4264910"/>
              <a:gd name="connsiteX83" fmla="*/ 4482255 w 5889610"/>
              <a:gd name="connsiteY83" fmla="*/ 432724 h 4264910"/>
              <a:gd name="connsiteX84" fmla="*/ 4443696 w 5889610"/>
              <a:gd name="connsiteY84" fmla="*/ 409481 h 4264910"/>
              <a:gd name="connsiteX85" fmla="*/ 4404756 w 5889610"/>
              <a:gd name="connsiteY85" fmla="*/ 386814 h 4264910"/>
              <a:gd name="connsiteX86" fmla="*/ 4365441 w 5889610"/>
              <a:gd name="connsiteY86" fmla="*/ 364727 h 4264910"/>
              <a:gd name="connsiteX87" fmla="*/ 4325757 w 5889610"/>
              <a:gd name="connsiteY87" fmla="*/ 343228 h 4264910"/>
              <a:gd name="connsiteX88" fmla="*/ 4285710 w 5889610"/>
              <a:gd name="connsiteY88" fmla="*/ 322322 h 4264910"/>
              <a:gd name="connsiteX89" fmla="*/ 4245306 w 5889610"/>
              <a:gd name="connsiteY89" fmla="*/ 302015 h 4264910"/>
              <a:gd name="connsiteX90" fmla="*/ 4204550 w 5889610"/>
              <a:gd name="connsiteY90" fmla="*/ 282313 h 4264910"/>
              <a:gd name="connsiteX91" fmla="*/ 4163449 w 5889610"/>
              <a:gd name="connsiteY91" fmla="*/ 263221 h 4264910"/>
              <a:gd name="connsiteX92" fmla="*/ 4122008 w 5889610"/>
              <a:gd name="connsiteY92" fmla="*/ 244746 h 4264910"/>
              <a:gd name="connsiteX93" fmla="*/ 4080233 w 5889610"/>
              <a:gd name="connsiteY93" fmla="*/ 226893 h 4264910"/>
              <a:gd name="connsiteX94" fmla="*/ 4038131 w 5889610"/>
              <a:gd name="connsiteY94" fmla="*/ 209668 h 4264910"/>
              <a:gd name="connsiteX95" fmla="*/ 3995707 w 5889610"/>
              <a:gd name="connsiteY95" fmla="*/ 193077 h 4264910"/>
              <a:gd name="connsiteX96" fmla="*/ 3952967 w 5889610"/>
              <a:gd name="connsiteY96" fmla="*/ 177126 h 4264910"/>
              <a:gd name="connsiteX97" fmla="*/ 3909916 w 5889610"/>
              <a:gd name="connsiteY97" fmla="*/ 161821 h 4264910"/>
              <a:gd name="connsiteX98" fmla="*/ 3866562 w 5889610"/>
              <a:gd name="connsiteY98" fmla="*/ 147168 h 4264910"/>
              <a:gd name="connsiteX99" fmla="*/ 3822909 w 5889610"/>
              <a:gd name="connsiteY99" fmla="*/ 133172 h 4264910"/>
              <a:gd name="connsiteX100" fmla="*/ 3778964 w 5889610"/>
              <a:gd name="connsiteY100" fmla="*/ 119840 h 4264910"/>
              <a:gd name="connsiteX101" fmla="*/ 3734732 w 5889610"/>
              <a:gd name="connsiteY101" fmla="*/ 107177 h 4264910"/>
              <a:gd name="connsiteX102" fmla="*/ 3690220 w 5889610"/>
              <a:gd name="connsiteY102" fmla="*/ 95189 h 4264910"/>
              <a:gd name="connsiteX103" fmla="*/ 3645433 w 5889610"/>
              <a:gd name="connsiteY103" fmla="*/ 83883 h 4264910"/>
              <a:gd name="connsiteX104" fmla="*/ 3600377 w 5889610"/>
              <a:gd name="connsiteY104" fmla="*/ 73263 h 4264910"/>
              <a:gd name="connsiteX105" fmla="*/ 3555058 w 5889610"/>
              <a:gd name="connsiteY105" fmla="*/ 63336 h 4264910"/>
              <a:gd name="connsiteX106" fmla="*/ 3509482 w 5889610"/>
              <a:gd name="connsiteY106" fmla="*/ 54107 h 4264910"/>
              <a:gd name="connsiteX107" fmla="*/ 3463655 w 5889610"/>
              <a:gd name="connsiteY107" fmla="*/ 45584 h 4264910"/>
              <a:gd name="connsiteX108" fmla="*/ 3417583 w 5889610"/>
              <a:gd name="connsiteY108" fmla="*/ 37770 h 4264910"/>
              <a:gd name="connsiteX109" fmla="*/ 3371271 w 5889610"/>
              <a:gd name="connsiteY109" fmla="*/ 30673 h 4264910"/>
              <a:gd name="connsiteX110" fmla="*/ 3324726 w 5889610"/>
              <a:gd name="connsiteY110" fmla="*/ 24298 h 4264910"/>
              <a:gd name="connsiteX111" fmla="*/ 3277953 w 5889610"/>
              <a:gd name="connsiteY111" fmla="*/ 18651 h 4264910"/>
              <a:gd name="connsiteX112" fmla="*/ 3230959 w 5889610"/>
              <a:gd name="connsiteY112" fmla="*/ 13738 h 4264910"/>
              <a:gd name="connsiteX113" fmla="*/ 3183749 w 5889610"/>
              <a:gd name="connsiteY113" fmla="*/ 9564 h 4264910"/>
              <a:gd name="connsiteX114" fmla="*/ 3136329 w 5889610"/>
              <a:gd name="connsiteY114" fmla="*/ 6137 h 4264910"/>
              <a:gd name="connsiteX115" fmla="*/ 3088705 w 5889610"/>
              <a:gd name="connsiteY115" fmla="*/ 3461 h 4264910"/>
              <a:gd name="connsiteX116" fmla="*/ 3040883 w 5889610"/>
              <a:gd name="connsiteY116" fmla="*/ 1542 h 4264910"/>
              <a:gd name="connsiteX117" fmla="*/ 2992869 w 5889610"/>
              <a:gd name="connsiteY117" fmla="*/ 386 h 4264910"/>
              <a:gd name="connsiteX118" fmla="*/ 2944668 w 5889610"/>
              <a:gd name="connsiteY118" fmla="*/ 0 h 4264910"/>
              <a:gd name="connsiteX119" fmla="*/ 2896458 w 5889610"/>
              <a:gd name="connsiteY119" fmla="*/ 386 h 4264910"/>
              <a:gd name="connsiteX120" fmla="*/ 2848435 w 5889610"/>
              <a:gd name="connsiteY120" fmla="*/ 1542 h 4264910"/>
              <a:gd name="connsiteX121" fmla="*/ 2800604 w 5889610"/>
              <a:gd name="connsiteY121" fmla="*/ 3461 h 4264910"/>
              <a:gd name="connsiteX122" fmla="*/ 2752972 w 5889610"/>
              <a:gd name="connsiteY122" fmla="*/ 6137 h 4264910"/>
              <a:gd name="connsiteX123" fmla="*/ 2705544 w 5889610"/>
              <a:gd name="connsiteY123" fmla="*/ 9564 h 4264910"/>
              <a:gd name="connsiteX124" fmla="*/ 2658327 w 5889610"/>
              <a:gd name="connsiteY124" fmla="*/ 13738 h 4264910"/>
              <a:gd name="connsiteX125" fmla="*/ 2611326 w 5889610"/>
              <a:gd name="connsiteY125" fmla="*/ 18651 h 4264910"/>
              <a:gd name="connsiteX126" fmla="*/ 2564548 w 5889610"/>
              <a:gd name="connsiteY126" fmla="*/ 24298 h 4264910"/>
              <a:gd name="connsiteX127" fmla="*/ 2517997 w 5889610"/>
              <a:gd name="connsiteY127" fmla="*/ 30673 h 4264910"/>
              <a:gd name="connsiteX128" fmla="*/ 2471680 w 5889610"/>
              <a:gd name="connsiteY128" fmla="*/ 37770 h 4264910"/>
              <a:gd name="connsiteX129" fmla="*/ 2425603 w 5889610"/>
              <a:gd name="connsiteY129" fmla="*/ 45584 h 4264910"/>
              <a:gd name="connsiteX130" fmla="*/ 2379772 w 5889610"/>
              <a:gd name="connsiteY130" fmla="*/ 54107 h 4264910"/>
              <a:gd name="connsiteX131" fmla="*/ 2334192 w 5889610"/>
              <a:gd name="connsiteY131" fmla="*/ 63336 h 4264910"/>
              <a:gd name="connsiteX132" fmla="*/ 2288870 w 5889610"/>
              <a:gd name="connsiteY132" fmla="*/ 73263 h 4264910"/>
              <a:gd name="connsiteX133" fmla="*/ 2243811 w 5889610"/>
              <a:gd name="connsiteY133" fmla="*/ 83883 h 4264910"/>
              <a:gd name="connsiteX134" fmla="*/ 2199022 w 5889610"/>
              <a:gd name="connsiteY134" fmla="*/ 95189 h 4264910"/>
              <a:gd name="connsiteX135" fmla="*/ 2154507 w 5889610"/>
              <a:gd name="connsiteY135" fmla="*/ 107177 h 4264910"/>
              <a:gd name="connsiteX136" fmla="*/ 2110274 w 5889610"/>
              <a:gd name="connsiteY136" fmla="*/ 119840 h 4264910"/>
              <a:gd name="connsiteX137" fmla="*/ 2066327 w 5889610"/>
              <a:gd name="connsiteY137" fmla="*/ 133172 h 4264910"/>
              <a:gd name="connsiteX138" fmla="*/ 2022674 w 5889610"/>
              <a:gd name="connsiteY138" fmla="*/ 147168 h 4264910"/>
              <a:gd name="connsiteX139" fmla="*/ 1979319 w 5889610"/>
              <a:gd name="connsiteY139" fmla="*/ 161821 h 4264910"/>
              <a:gd name="connsiteX140" fmla="*/ 1936268 w 5889610"/>
              <a:gd name="connsiteY140" fmla="*/ 177126 h 4264910"/>
              <a:gd name="connsiteX141" fmla="*/ 1893528 w 5889610"/>
              <a:gd name="connsiteY141" fmla="*/ 193077 h 4264910"/>
              <a:gd name="connsiteX142" fmla="*/ 1851105 w 5889610"/>
              <a:gd name="connsiteY142" fmla="*/ 209668 h 4264910"/>
              <a:gd name="connsiteX143" fmla="*/ 1809003 w 5889610"/>
              <a:gd name="connsiteY143" fmla="*/ 226893 h 4264910"/>
              <a:gd name="connsiteX144" fmla="*/ 1767230 w 5889610"/>
              <a:gd name="connsiteY144" fmla="*/ 244746 h 4264910"/>
              <a:gd name="connsiteX145" fmla="*/ 1725791 w 5889610"/>
              <a:gd name="connsiteY145" fmla="*/ 263221 h 4264910"/>
              <a:gd name="connsiteX146" fmla="*/ 1684691 w 5889610"/>
              <a:gd name="connsiteY146" fmla="*/ 282313 h 4264910"/>
              <a:gd name="connsiteX147" fmla="*/ 1643938 w 5889610"/>
              <a:gd name="connsiteY147" fmla="*/ 302015 h 4264910"/>
              <a:gd name="connsiteX148" fmla="*/ 1603536 w 5889610"/>
              <a:gd name="connsiteY148" fmla="*/ 322322 h 4264910"/>
              <a:gd name="connsiteX149" fmla="*/ 1563492 w 5889610"/>
              <a:gd name="connsiteY149" fmla="*/ 343228 h 4264910"/>
              <a:gd name="connsiteX150" fmla="*/ 1523811 w 5889610"/>
              <a:gd name="connsiteY150" fmla="*/ 364727 h 4264910"/>
              <a:gd name="connsiteX151" fmla="*/ 1484499 w 5889610"/>
              <a:gd name="connsiteY151" fmla="*/ 386814 h 4264910"/>
              <a:gd name="connsiteX152" fmla="*/ 1445563 w 5889610"/>
              <a:gd name="connsiteY152" fmla="*/ 409481 h 4264910"/>
              <a:gd name="connsiteX153" fmla="*/ 1407007 w 5889610"/>
              <a:gd name="connsiteY153" fmla="*/ 432724 h 4264910"/>
              <a:gd name="connsiteX154" fmla="*/ 1368839 w 5889610"/>
              <a:gd name="connsiteY154" fmla="*/ 456536 h 4264910"/>
              <a:gd name="connsiteX155" fmla="*/ 1331064 w 5889610"/>
              <a:gd name="connsiteY155" fmla="*/ 480912 h 4264910"/>
              <a:gd name="connsiteX156" fmla="*/ 1293687 w 5889610"/>
              <a:gd name="connsiteY156" fmla="*/ 505845 h 4264910"/>
              <a:gd name="connsiteX157" fmla="*/ 1256715 w 5889610"/>
              <a:gd name="connsiteY157" fmla="*/ 531331 h 4264910"/>
              <a:gd name="connsiteX158" fmla="*/ 1220154 w 5889610"/>
              <a:gd name="connsiteY158" fmla="*/ 557362 h 4264910"/>
              <a:gd name="connsiteX159" fmla="*/ 1184009 w 5889610"/>
              <a:gd name="connsiteY159" fmla="*/ 583934 h 4264910"/>
              <a:gd name="connsiteX160" fmla="*/ 1148286 w 5889610"/>
              <a:gd name="connsiteY160" fmla="*/ 611040 h 4264910"/>
              <a:gd name="connsiteX161" fmla="*/ 1112991 w 5889610"/>
              <a:gd name="connsiteY161" fmla="*/ 638674 h 4264910"/>
              <a:gd name="connsiteX162" fmla="*/ 1078131 w 5889610"/>
              <a:gd name="connsiteY162" fmla="*/ 666831 h 4264910"/>
              <a:gd name="connsiteX163" fmla="*/ 1043710 w 5889610"/>
              <a:gd name="connsiteY163" fmla="*/ 695504 h 4264910"/>
              <a:gd name="connsiteX164" fmla="*/ 1009736 w 5889610"/>
              <a:gd name="connsiteY164" fmla="*/ 724688 h 4264910"/>
              <a:gd name="connsiteX165" fmla="*/ 976213 w 5889610"/>
              <a:gd name="connsiteY165" fmla="*/ 754377 h 4264910"/>
              <a:gd name="connsiteX166" fmla="*/ 943148 w 5889610"/>
              <a:gd name="connsiteY166" fmla="*/ 784566 h 4264910"/>
              <a:gd name="connsiteX167" fmla="*/ 910546 w 5889610"/>
              <a:gd name="connsiteY167" fmla="*/ 815247 h 4264910"/>
              <a:gd name="connsiteX168" fmla="*/ 878413 w 5889610"/>
              <a:gd name="connsiteY168" fmla="*/ 846416 h 4264910"/>
              <a:gd name="connsiteX169" fmla="*/ 846756 w 5889610"/>
              <a:gd name="connsiteY169" fmla="*/ 878066 h 4264910"/>
              <a:gd name="connsiteX170" fmla="*/ 815581 w 5889610"/>
              <a:gd name="connsiteY170" fmla="*/ 910192 h 4264910"/>
              <a:gd name="connsiteX171" fmla="*/ 784892 w 5889610"/>
              <a:gd name="connsiteY171" fmla="*/ 942787 h 4264910"/>
              <a:gd name="connsiteX172" fmla="*/ 754696 w 5889610"/>
              <a:gd name="connsiteY172" fmla="*/ 975846 h 4264910"/>
              <a:gd name="connsiteX173" fmla="*/ 724999 w 5889610"/>
              <a:gd name="connsiteY173" fmla="*/ 1009363 h 4264910"/>
              <a:gd name="connsiteX174" fmla="*/ 695807 w 5889610"/>
              <a:gd name="connsiteY174" fmla="*/ 1043332 h 4264910"/>
              <a:gd name="connsiteX175" fmla="*/ 667125 w 5889610"/>
              <a:gd name="connsiteY175" fmla="*/ 1077748 h 4264910"/>
              <a:gd name="connsiteX176" fmla="*/ 638960 w 5889610"/>
              <a:gd name="connsiteY176" fmla="*/ 1112604 h 4264910"/>
              <a:gd name="connsiteX177" fmla="*/ 611317 w 5889610"/>
              <a:gd name="connsiteY177" fmla="*/ 1147894 h 4264910"/>
              <a:gd name="connsiteX178" fmla="*/ 584202 w 5889610"/>
              <a:gd name="connsiteY178" fmla="*/ 1183613 h 4264910"/>
              <a:gd name="connsiteX179" fmla="*/ 557622 w 5889610"/>
              <a:gd name="connsiteY179" fmla="*/ 1219754 h 4264910"/>
              <a:gd name="connsiteX180" fmla="*/ 531582 w 5889610"/>
              <a:gd name="connsiteY180" fmla="*/ 1256313 h 4264910"/>
              <a:gd name="connsiteX181" fmla="*/ 506087 w 5889610"/>
              <a:gd name="connsiteY181" fmla="*/ 1293282 h 4264910"/>
              <a:gd name="connsiteX182" fmla="*/ 481145 w 5889610"/>
              <a:gd name="connsiteY182" fmla="*/ 1330656 h 4264910"/>
              <a:gd name="connsiteX183" fmla="*/ 456760 w 5889610"/>
              <a:gd name="connsiteY183" fmla="*/ 1368430 h 4264910"/>
              <a:gd name="connsiteX184" fmla="*/ 432939 w 5889610"/>
              <a:gd name="connsiteY184" fmla="*/ 1406597 h 4264910"/>
              <a:gd name="connsiteX185" fmla="*/ 409687 w 5889610"/>
              <a:gd name="connsiteY185" fmla="*/ 1445152 h 4264910"/>
              <a:gd name="connsiteX186" fmla="*/ 387011 w 5889610"/>
              <a:gd name="connsiteY186" fmla="*/ 1484088 h 4264910"/>
              <a:gd name="connsiteX187" fmla="*/ 364915 w 5889610"/>
              <a:gd name="connsiteY187" fmla="*/ 1523400 h 4264910"/>
              <a:gd name="connsiteX188" fmla="*/ 343407 w 5889610"/>
              <a:gd name="connsiteY188" fmla="*/ 1563082 h 4264910"/>
              <a:gd name="connsiteX189" fmla="*/ 322492 w 5889610"/>
              <a:gd name="connsiteY189" fmla="*/ 1603127 h 4264910"/>
              <a:gd name="connsiteX190" fmla="*/ 302176 w 5889610"/>
              <a:gd name="connsiteY190" fmla="*/ 1643531 h 4264910"/>
              <a:gd name="connsiteX191" fmla="*/ 282465 w 5889610"/>
              <a:gd name="connsiteY191" fmla="*/ 1684288 h 4264910"/>
              <a:gd name="connsiteX192" fmla="*/ 263365 w 5889610"/>
              <a:gd name="connsiteY192" fmla="*/ 1725390 h 4264910"/>
              <a:gd name="connsiteX193" fmla="*/ 244881 w 5889610"/>
              <a:gd name="connsiteY193" fmla="*/ 1766833 h 4264910"/>
              <a:gd name="connsiteX194" fmla="*/ 227019 w 5889610"/>
              <a:gd name="connsiteY194" fmla="*/ 1808611 h 4264910"/>
              <a:gd name="connsiteX195" fmla="*/ 209786 w 5889610"/>
              <a:gd name="connsiteY195" fmla="*/ 1850718 h 4264910"/>
              <a:gd name="connsiteX196" fmla="*/ 193187 w 5889610"/>
              <a:gd name="connsiteY196" fmla="*/ 1893147 h 4264910"/>
              <a:gd name="connsiteX197" fmla="*/ 177228 w 5889610"/>
              <a:gd name="connsiteY197" fmla="*/ 1935894 h 4264910"/>
              <a:gd name="connsiteX198" fmla="*/ 161915 w 5889610"/>
              <a:gd name="connsiteY198" fmla="*/ 1978952 h 4264910"/>
              <a:gd name="connsiteX199" fmla="*/ 147254 w 5889610"/>
              <a:gd name="connsiteY199" fmla="*/ 2022315 h 4264910"/>
              <a:gd name="connsiteX200" fmla="*/ 133251 w 5889610"/>
              <a:gd name="connsiteY200" fmla="*/ 2065977 h 4264910"/>
              <a:gd name="connsiteX201" fmla="*/ 119912 w 5889610"/>
              <a:gd name="connsiteY201" fmla="*/ 2109933 h 4264910"/>
              <a:gd name="connsiteX202" fmla="*/ 107242 w 5889610"/>
              <a:gd name="connsiteY202" fmla="*/ 2154177 h 4264910"/>
              <a:gd name="connsiteX203" fmla="*/ 95247 w 5889610"/>
              <a:gd name="connsiteY203" fmla="*/ 2198702 h 4264910"/>
              <a:gd name="connsiteX204" fmla="*/ 83934 w 5889610"/>
              <a:gd name="connsiteY204" fmla="*/ 2243504 h 4264910"/>
              <a:gd name="connsiteX205" fmla="*/ 73308 w 5889610"/>
              <a:gd name="connsiteY205" fmla="*/ 2288575 h 4264910"/>
              <a:gd name="connsiteX206" fmla="*/ 63375 w 5889610"/>
              <a:gd name="connsiteY206" fmla="*/ 2333911 h 4264910"/>
              <a:gd name="connsiteX207" fmla="*/ 54141 w 5889610"/>
              <a:gd name="connsiteY207" fmla="*/ 2379505 h 4264910"/>
              <a:gd name="connsiteX208" fmla="*/ 45613 w 5889610"/>
              <a:gd name="connsiteY208" fmla="*/ 2425352 h 4264910"/>
              <a:gd name="connsiteX209" fmla="*/ 37794 w 5889610"/>
              <a:gd name="connsiteY209" fmla="*/ 2471445 h 4264910"/>
              <a:gd name="connsiteX210" fmla="*/ 30693 w 5889610"/>
              <a:gd name="connsiteY210" fmla="*/ 2517779 h 4264910"/>
              <a:gd name="connsiteX211" fmla="*/ 24314 w 5889610"/>
              <a:gd name="connsiteY211" fmla="*/ 2564347 h 4264910"/>
              <a:gd name="connsiteX212" fmla="*/ 18663 w 5889610"/>
              <a:gd name="connsiteY212" fmla="*/ 2611145 h 4264910"/>
              <a:gd name="connsiteX213" fmla="*/ 13747 w 5889610"/>
              <a:gd name="connsiteY213" fmla="*/ 2658166 h 4264910"/>
              <a:gd name="connsiteX214" fmla="*/ 9571 w 5889610"/>
              <a:gd name="connsiteY214" fmla="*/ 2705404 h 4264910"/>
              <a:gd name="connsiteX215" fmla="*/ 6141 w 5889610"/>
              <a:gd name="connsiteY215" fmla="*/ 2752853 h 4264910"/>
              <a:gd name="connsiteX216" fmla="*/ 3463 w 5889610"/>
              <a:gd name="connsiteY216" fmla="*/ 2800508 h 4264910"/>
              <a:gd name="connsiteX217" fmla="*/ 1543 w 5889610"/>
              <a:gd name="connsiteY217" fmla="*/ 2848362 h 4264910"/>
              <a:gd name="connsiteX218" fmla="*/ 386 w 5889610"/>
              <a:gd name="connsiteY218" fmla="*/ 2896411 h 4264910"/>
              <a:gd name="connsiteX219" fmla="*/ 0 w 5889610"/>
              <a:gd name="connsiteY219"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769649 w 5889610"/>
              <a:gd name="connsiteY0" fmla="*/ 3779500 h 4264910"/>
              <a:gd name="connsiteX1" fmla="*/ 5782324 w 5889610"/>
              <a:gd name="connsiteY1" fmla="*/ 3735250 h 4264910"/>
              <a:gd name="connsiteX2" fmla="*/ 5794323 w 5889610"/>
              <a:gd name="connsiteY2" fmla="*/ 3690717 h 4264910"/>
              <a:gd name="connsiteX3" fmla="*/ 5826208 w 5889610"/>
              <a:gd name="connsiteY3" fmla="*/ 3555488 h 4264910"/>
              <a:gd name="connsiteX4" fmla="*/ 5835445 w 5889610"/>
              <a:gd name="connsiteY4" fmla="*/ 3509887 h 4264910"/>
              <a:gd name="connsiteX5" fmla="*/ 5843978 w 5889610"/>
              <a:gd name="connsiteY5" fmla="*/ 3464033 h 4264910"/>
              <a:gd name="connsiteX6" fmla="*/ 5851799 w 5889610"/>
              <a:gd name="connsiteY6" fmla="*/ 3417933 h 4264910"/>
              <a:gd name="connsiteX7" fmla="*/ 5858904 w 5889610"/>
              <a:gd name="connsiteY7" fmla="*/ 3371591 h 4264910"/>
              <a:gd name="connsiteX8" fmla="*/ 5865285 w 5889610"/>
              <a:gd name="connsiteY8" fmla="*/ 3325015 h 4264910"/>
              <a:gd name="connsiteX9" fmla="*/ 5870938 w 5889610"/>
              <a:gd name="connsiteY9" fmla="*/ 3278209 h 4264910"/>
              <a:gd name="connsiteX10" fmla="*/ 5875857 w 5889610"/>
              <a:gd name="connsiteY10" fmla="*/ 3231180 h 4264910"/>
              <a:gd name="connsiteX11" fmla="*/ 5880035 w 5889610"/>
              <a:gd name="connsiteY11" fmla="*/ 3183934 h 4264910"/>
              <a:gd name="connsiteX12" fmla="*/ 5883466 w 5889610"/>
              <a:gd name="connsiteY12" fmla="*/ 3136476 h 4264910"/>
              <a:gd name="connsiteX13" fmla="*/ 5886146 w 5889610"/>
              <a:gd name="connsiteY13" fmla="*/ 3088813 h 4264910"/>
              <a:gd name="connsiteX14" fmla="*/ 5888067 w 5889610"/>
              <a:gd name="connsiteY14" fmla="*/ 3040949 h 4264910"/>
              <a:gd name="connsiteX15" fmla="*/ 5889223 w 5889610"/>
              <a:gd name="connsiteY15" fmla="*/ 2992892 h 4264910"/>
              <a:gd name="connsiteX16" fmla="*/ 5889610 w 5889610"/>
              <a:gd name="connsiteY16" fmla="*/ 2944647 h 4264910"/>
              <a:gd name="connsiteX17" fmla="*/ 5889223 w 5889610"/>
              <a:gd name="connsiteY17" fmla="*/ 2896411 h 4264910"/>
              <a:gd name="connsiteX18" fmla="*/ 5888067 w 5889610"/>
              <a:gd name="connsiteY18" fmla="*/ 2848362 h 4264910"/>
              <a:gd name="connsiteX19" fmla="*/ 5886146 w 5889610"/>
              <a:gd name="connsiteY19" fmla="*/ 2800508 h 4264910"/>
              <a:gd name="connsiteX20" fmla="*/ 5883466 w 5889610"/>
              <a:gd name="connsiteY20" fmla="*/ 2752853 h 4264910"/>
              <a:gd name="connsiteX21" fmla="*/ 5880035 w 5889610"/>
              <a:gd name="connsiteY21" fmla="*/ 2705404 h 4264910"/>
              <a:gd name="connsiteX22" fmla="*/ 5875857 w 5889610"/>
              <a:gd name="connsiteY22" fmla="*/ 2658166 h 4264910"/>
              <a:gd name="connsiteX23" fmla="*/ 5870938 w 5889610"/>
              <a:gd name="connsiteY23" fmla="*/ 2611145 h 4264910"/>
              <a:gd name="connsiteX24" fmla="*/ 5865285 w 5889610"/>
              <a:gd name="connsiteY24" fmla="*/ 2564347 h 4264910"/>
              <a:gd name="connsiteX25" fmla="*/ 5858904 w 5889610"/>
              <a:gd name="connsiteY25" fmla="*/ 2517779 h 4264910"/>
              <a:gd name="connsiteX26" fmla="*/ 5851799 w 5889610"/>
              <a:gd name="connsiteY26" fmla="*/ 2471445 h 4264910"/>
              <a:gd name="connsiteX27" fmla="*/ 5843978 w 5889610"/>
              <a:gd name="connsiteY27" fmla="*/ 2425352 h 4264910"/>
              <a:gd name="connsiteX28" fmla="*/ 5835445 w 5889610"/>
              <a:gd name="connsiteY28" fmla="*/ 2379505 h 4264910"/>
              <a:gd name="connsiteX29" fmla="*/ 5826208 w 5889610"/>
              <a:gd name="connsiteY29" fmla="*/ 2333911 h 4264910"/>
              <a:gd name="connsiteX30" fmla="*/ 5816271 w 5889610"/>
              <a:gd name="connsiteY30" fmla="*/ 2288575 h 4264910"/>
              <a:gd name="connsiteX31" fmla="*/ 5805641 w 5889610"/>
              <a:gd name="connsiteY31" fmla="*/ 2243504 h 4264910"/>
              <a:gd name="connsiteX32" fmla="*/ 5794323 w 5889610"/>
              <a:gd name="connsiteY32" fmla="*/ 2198702 h 4264910"/>
              <a:gd name="connsiteX33" fmla="*/ 5782324 w 5889610"/>
              <a:gd name="connsiteY33" fmla="*/ 2154177 h 4264910"/>
              <a:gd name="connsiteX34" fmla="*/ 5769649 w 5889610"/>
              <a:gd name="connsiteY34" fmla="*/ 2109933 h 4264910"/>
              <a:gd name="connsiteX35" fmla="*/ 5756304 w 5889610"/>
              <a:gd name="connsiteY35" fmla="*/ 2065977 h 4264910"/>
              <a:gd name="connsiteX36" fmla="*/ 5742296 w 5889610"/>
              <a:gd name="connsiteY36" fmla="*/ 2022315 h 4264910"/>
              <a:gd name="connsiteX37" fmla="*/ 5727629 w 5889610"/>
              <a:gd name="connsiteY37" fmla="*/ 1978952 h 4264910"/>
              <a:gd name="connsiteX38" fmla="*/ 5712311 w 5889610"/>
              <a:gd name="connsiteY38" fmla="*/ 1935894 h 4264910"/>
              <a:gd name="connsiteX39" fmla="*/ 5696346 w 5889610"/>
              <a:gd name="connsiteY39" fmla="*/ 1893147 h 4264910"/>
              <a:gd name="connsiteX40" fmla="*/ 5679741 w 5889610"/>
              <a:gd name="connsiteY40" fmla="*/ 1850718 h 4264910"/>
              <a:gd name="connsiteX41" fmla="*/ 5662502 w 5889610"/>
              <a:gd name="connsiteY41" fmla="*/ 1808611 h 4264910"/>
              <a:gd name="connsiteX42" fmla="*/ 5644634 w 5889610"/>
              <a:gd name="connsiteY42" fmla="*/ 1766833 h 4264910"/>
              <a:gd name="connsiteX43" fmla="*/ 5626144 w 5889610"/>
              <a:gd name="connsiteY43" fmla="*/ 1725390 h 4264910"/>
              <a:gd name="connsiteX44" fmla="*/ 5607037 w 5889610"/>
              <a:gd name="connsiteY44" fmla="*/ 1684288 h 4264910"/>
              <a:gd name="connsiteX45" fmla="*/ 5587319 w 5889610"/>
              <a:gd name="connsiteY45" fmla="*/ 1643531 h 4264910"/>
              <a:gd name="connsiteX46" fmla="*/ 5566997 w 5889610"/>
              <a:gd name="connsiteY46" fmla="*/ 1603127 h 4264910"/>
              <a:gd name="connsiteX47" fmla="*/ 5546075 w 5889610"/>
              <a:gd name="connsiteY47" fmla="*/ 1563082 h 4264910"/>
              <a:gd name="connsiteX48" fmla="*/ 5524560 w 5889610"/>
              <a:gd name="connsiteY48" fmla="*/ 1523400 h 4264910"/>
              <a:gd name="connsiteX49" fmla="*/ 5502458 w 5889610"/>
              <a:gd name="connsiteY49" fmla="*/ 1484088 h 4264910"/>
              <a:gd name="connsiteX50" fmla="*/ 5479775 w 5889610"/>
              <a:gd name="connsiteY50" fmla="*/ 1445152 h 4264910"/>
              <a:gd name="connsiteX51" fmla="*/ 5456516 w 5889610"/>
              <a:gd name="connsiteY51" fmla="*/ 1406597 h 4264910"/>
              <a:gd name="connsiteX52" fmla="*/ 5432688 w 5889610"/>
              <a:gd name="connsiteY52" fmla="*/ 1368430 h 4264910"/>
              <a:gd name="connsiteX53" fmla="*/ 5408296 w 5889610"/>
              <a:gd name="connsiteY53" fmla="*/ 1330656 h 4264910"/>
              <a:gd name="connsiteX54" fmla="*/ 5383346 w 5889610"/>
              <a:gd name="connsiteY54" fmla="*/ 1293282 h 4264910"/>
              <a:gd name="connsiteX55" fmla="*/ 5357845 w 5889610"/>
              <a:gd name="connsiteY55" fmla="*/ 1256313 h 4264910"/>
              <a:gd name="connsiteX56" fmla="*/ 5331797 w 5889610"/>
              <a:gd name="connsiteY56" fmla="*/ 1219754 h 4264910"/>
              <a:gd name="connsiteX57" fmla="*/ 5305210 w 5889610"/>
              <a:gd name="connsiteY57" fmla="*/ 1183613 h 4264910"/>
              <a:gd name="connsiteX58" fmla="*/ 5278088 w 5889610"/>
              <a:gd name="connsiteY58" fmla="*/ 1147894 h 4264910"/>
              <a:gd name="connsiteX59" fmla="*/ 5250438 w 5889610"/>
              <a:gd name="connsiteY59" fmla="*/ 1112604 h 4264910"/>
              <a:gd name="connsiteX60" fmla="*/ 5222266 w 5889610"/>
              <a:gd name="connsiteY60" fmla="*/ 1077748 h 4264910"/>
              <a:gd name="connsiteX61" fmla="*/ 5193577 w 5889610"/>
              <a:gd name="connsiteY61" fmla="*/ 1043332 h 4264910"/>
              <a:gd name="connsiteX62" fmla="*/ 5164378 w 5889610"/>
              <a:gd name="connsiteY62" fmla="*/ 1009363 h 4264910"/>
              <a:gd name="connsiteX63" fmla="*/ 5134674 w 5889610"/>
              <a:gd name="connsiteY63" fmla="*/ 975846 h 4264910"/>
              <a:gd name="connsiteX64" fmla="*/ 5104471 w 5889610"/>
              <a:gd name="connsiteY64" fmla="*/ 942787 h 4264910"/>
              <a:gd name="connsiteX65" fmla="*/ 5073776 w 5889610"/>
              <a:gd name="connsiteY65" fmla="*/ 910192 h 4264910"/>
              <a:gd name="connsiteX66" fmla="*/ 5042593 w 5889610"/>
              <a:gd name="connsiteY66" fmla="*/ 878066 h 4264910"/>
              <a:gd name="connsiteX67" fmla="*/ 5010930 w 5889610"/>
              <a:gd name="connsiteY67" fmla="*/ 846416 h 4264910"/>
              <a:gd name="connsiteX68" fmla="*/ 4978791 w 5889610"/>
              <a:gd name="connsiteY68" fmla="*/ 815247 h 4264910"/>
              <a:gd name="connsiteX69" fmla="*/ 4946183 w 5889610"/>
              <a:gd name="connsiteY69" fmla="*/ 784566 h 4264910"/>
              <a:gd name="connsiteX70" fmla="*/ 4913111 w 5889610"/>
              <a:gd name="connsiteY70" fmla="*/ 754377 h 4264910"/>
              <a:gd name="connsiteX71" fmla="*/ 4879582 w 5889610"/>
              <a:gd name="connsiteY71" fmla="*/ 724688 h 4264910"/>
              <a:gd name="connsiteX72" fmla="*/ 4845602 w 5889610"/>
              <a:gd name="connsiteY72" fmla="*/ 695504 h 4264910"/>
              <a:gd name="connsiteX73" fmla="*/ 4811176 w 5889610"/>
              <a:gd name="connsiteY73" fmla="*/ 666831 h 4264910"/>
              <a:gd name="connsiteX74" fmla="*/ 4776309 w 5889610"/>
              <a:gd name="connsiteY74" fmla="*/ 638674 h 4264910"/>
              <a:gd name="connsiteX75" fmla="*/ 4741009 w 5889610"/>
              <a:gd name="connsiteY75" fmla="*/ 611040 h 4264910"/>
              <a:gd name="connsiteX76" fmla="*/ 4705281 w 5889610"/>
              <a:gd name="connsiteY76" fmla="*/ 583934 h 4264910"/>
              <a:gd name="connsiteX77" fmla="*/ 4669131 w 5889610"/>
              <a:gd name="connsiteY77" fmla="*/ 557362 h 4264910"/>
              <a:gd name="connsiteX78" fmla="*/ 4632565 w 5889610"/>
              <a:gd name="connsiteY78" fmla="*/ 531331 h 4264910"/>
              <a:gd name="connsiteX79" fmla="*/ 4595588 w 5889610"/>
              <a:gd name="connsiteY79" fmla="*/ 505845 h 4264910"/>
              <a:gd name="connsiteX80" fmla="*/ 4558207 w 5889610"/>
              <a:gd name="connsiteY80" fmla="*/ 480912 h 4264910"/>
              <a:gd name="connsiteX81" fmla="*/ 4520427 w 5889610"/>
              <a:gd name="connsiteY81" fmla="*/ 456536 h 4264910"/>
              <a:gd name="connsiteX82" fmla="*/ 4482255 w 5889610"/>
              <a:gd name="connsiteY82" fmla="*/ 432724 h 4264910"/>
              <a:gd name="connsiteX83" fmla="*/ 4443696 w 5889610"/>
              <a:gd name="connsiteY83" fmla="*/ 409481 h 4264910"/>
              <a:gd name="connsiteX84" fmla="*/ 4404756 w 5889610"/>
              <a:gd name="connsiteY84" fmla="*/ 386814 h 4264910"/>
              <a:gd name="connsiteX85" fmla="*/ 4365441 w 5889610"/>
              <a:gd name="connsiteY85" fmla="*/ 364727 h 4264910"/>
              <a:gd name="connsiteX86" fmla="*/ 4325757 w 5889610"/>
              <a:gd name="connsiteY86" fmla="*/ 343228 h 4264910"/>
              <a:gd name="connsiteX87" fmla="*/ 4285710 w 5889610"/>
              <a:gd name="connsiteY87" fmla="*/ 322322 h 4264910"/>
              <a:gd name="connsiteX88" fmla="*/ 4245306 w 5889610"/>
              <a:gd name="connsiteY88" fmla="*/ 302015 h 4264910"/>
              <a:gd name="connsiteX89" fmla="*/ 4204550 w 5889610"/>
              <a:gd name="connsiteY89" fmla="*/ 282313 h 4264910"/>
              <a:gd name="connsiteX90" fmla="*/ 4163449 w 5889610"/>
              <a:gd name="connsiteY90" fmla="*/ 263221 h 4264910"/>
              <a:gd name="connsiteX91" fmla="*/ 4122008 w 5889610"/>
              <a:gd name="connsiteY91" fmla="*/ 244746 h 4264910"/>
              <a:gd name="connsiteX92" fmla="*/ 4080233 w 5889610"/>
              <a:gd name="connsiteY92" fmla="*/ 226893 h 4264910"/>
              <a:gd name="connsiteX93" fmla="*/ 4038131 w 5889610"/>
              <a:gd name="connsiteY93" fmla="*/ 209668 h 4264910"/>
              <a:gd name="connsiteX94" fmla="*/ 3995707 w 5889610"/>
              <a:gd name="connsiteY94" fmla="*/ 193077 h 4264910"/>
              <a:gd name="connsiteX95" fmla="*/ 3952967 w 5889610"/>
              <a:gd name="connsiteY95" fmla="*/ 177126 h 4264910"/>
              <a:gd name="connsiteX96" fmla="*/ 3909916 w 5889610"/>
              <a:gd name="connsiteY96" fmla="*/ 161821 h 4264910"/>
              <a:gd name="connsiteX97" fmla="*/ 3866562 w 5889610"/>
              <a:gd name="connsiteY97" fmla="*/ 147168 h 4264910"/>
              <a:gd name="connsiteX98" fmla="*/ 3822909 w 5889610"/>
              <a:gd name="connsiteY98" fmla="*/ 133172 h 4264910"/>
              <a:gd name="connsiteX99" fmla="*/ 3778964 w 5889610"/>
              <a:gd name="connsiteY99" fmla="*/ 119840 h 4264910"/>
              <a:gd name="connsiteX100" fmla="*/ 3734732 w 5889610"/>
              <a:gd name="connsiteY100" fmla="*/ 107177 h 4264910"/>
              <a:gd name="connsiteX101" fmla="*/ 3690220 w 5889610"/>
              <a:gd name="connsiteY101" fmla="*/ 95189 h 4264910"/>
              <a:gd name="connsiteX102" fmla="*/ 3645433 w 5889610"/>
              <a:gd name="connsiteY102" fmla="*/ 83883 h 4264910"/>
              <a:gd name="connsiteX103" fmla="*/ 3600377 w 5889610"/>
              <a:gd name="connsiteY103" fmla="*/ 73263 h 4264910"/>
              <a:gd name="connsiteX104" fmla="*/ 3555058 w 5889610"/>
              <a:gd name="connsiteY104" fmla="*/ 63336 h 4264910"/>
              <a:gd name="connsiteX105" fmla="*/ 3509482 w 5889610"/>
              <a:gd name="connsiteY105" fmla="*/ 54107 h 4264910"/>
              <a:gd name="connsiteX106" fmla="*/ 3463655 w 5889610"/>
              <a:gd name="connsiteY106" fmla="*/ 45584 h 4264910"/>
              <a:gd name="connsiteX107" fmla="*/ 3417583 w 5889610"/>
              <a:gd name="connsiteY107" fmla="*/ 37770 h 4264910"/>
              <a:gd name="connsiteX108" fmla="*/ 3371271 w 5889610"/>
              <a:gd name="connsiteY108" fmla="*/ 30673 h 4264910"/>
              <a:gd name="connsiteX109" fmla="*/ 3324726 w 5889610"/>
              <a:gd name="connsiteY109" fmla="*/ 24298 h 4264910"/>
              <a:gd name="connsiteX110" fmla="*/ 3277953 w 5889610"/>
              <a:gd name="connsiteY110" fmla="*/ 18651 h 4264910"/>
              <a:gd name="connsiteX111" fmla="*/ 3230959 w 5889610"/>
              <a:gd name="connsiteY111" fmla="*/ 13738 h 4264910"/>
              <a:gd name="connsiteX112" fmla="*/ 3183749 w 5889610"/>
              <a:gd name="connsiteY112" fmla="*/ 9564 h 4264910"/>
              <a:gd name="connsiteX113" fmla="*/ 3136329 w 5889610"/>
              <a:gd name="connsiteY113" fmla="*/ 6137 h 4264910"/>
              <a:gd name="connsiteX114" fmla="*/ 3088705 w 5889610"/>
              <a:gd name="connsiteY114" fmla="*/ 3461 h 4264910"/>
              <a:gd name="connsiteX115" fmla="*/ 3040883 w 5889610"/>
              <a:gd name="connsiteY115" fmla="*/ 1542 h 4264910"/>
              <a:gd name="connsiteX116" fmla="*/ 2992869 w 5889610"/>
              <a:gd name="connsiteY116" fmla="*/ 386 h 4264910"/>
              <a:gd name="connsiteX117" fmla="*/ 2944668 w 5889610"/>
              <a:gd name="connsiteY117" fmla="*/ 0 h 4264910"/>
              <a:gd name="connsiteX118" fmla="*/ 2896458 w 5889610"/>
              <a:gd name="connsiteY118" fmla="*/ 386 h 4264910"/>
              <a:gd name="connsiteX119" fmla="*/ 2848435 w 5889610"/>
              <a:gd name="connsiteY119" fmla="*/ 1542 h 4264910"/>
              <a:gd name="connsiteX120" fmla="*/ 2800604 w 5889610"/>
              <a:gd name="connsiteY120" fmla="*/ 3461 h 4264910"/>
              <a:gd name="connsiteX121" fmla="*/ 2752972 w 5889610"/>
              <a:gd name="connsiteY121" fmla="*/ 6137 h 4264910"/>
              <a:gd name="connsiteX122" fmla="*/ 2705544 w 5889610"/>
              <a:gd name="connsiteY122" fmla="*/ 9564 h 4264910"/>
              <a:gd name="connsiteX123" fmla="*/ 2658327 w 5889610"/>
              <a:gd name="connsiteY123" fmla="*/ 13738 h 4264910"/>
              <a:gd name="connsiteX124" fmla="*/ 2611326 w 5889610"/>
              <a:gd name="connsiteY124" fmla="*/ 18651 h 4264910"/>
              <a:gd name="connsiteX125" fmla="*/ 2564548 w 5889610"/>
              <a:gd name="connsiteY125" fmla="*/ 24298 h 4264910"/>
              <a:gd name="connsiteX126" fmla="*/ 2517997 w 5889610"/>
              <a:gd name="connsiteY126" fmla="*/ 30673 h 4264910"/>
              <a:gd name="connsiteX127" fmla="*/ 2471680 w 5889610"/>
              <a:gd name="connsiteY127" fmla="*/ 37770 h 4264910"/>
              <a:gd name="connsiteX128" fmla="*/ 2425603 w 5889610"/>
              <a:gd name="connsiteY128" fmla="*/ 45584 h 4264910"/>
              <a:gd name="connsiteX129" fmla="*/ 2379772 w 5889610"/>
              <a:gd name="connsiteY129" fmla="*/ 54107 h 4264910"/>
              <a:gd name="connsiteX130" fmla="*/ 2334192 w 5889610"/>
              <a:gd name="connsiteY130" fmla="*/ 63336 h 4264910"/>
              <a:gd name="connsiteX131" fmla="*/ 2288870 w 5889610"/>
              <a:gd name="connsiteY131" fmla="*/ 73263 h 4264910"/>
              <a:gd name="connsiteX132" fmla="*/ 2243811 w 5889610"/>
              <a:gd name="connsiteY132" fmla="*/ 83883 h 4264910"/>
              <a:gd name="connsiteX133" fmla="*/ 2199022 w 5889610"/>
              <a:gd name="connsiteY133" fmla="*/ 95189 h 4264910"/>
              <a:gd name="connsiteX134" fmla="*/ 2154507 w 5889610"/>
              <a:gd name="connsiteY134" fmla="*/ 107177 h 4264910"/>
              <a:gd name="connsiteX135" fmla="*/ 2110274 w 5889610"/>
              <a:gd name="connsiteY135" fmla="*/ 119840 h 4264910"/>
              <a:gd name="connsiteX136" fmla="*/ 2066327 w 5889610"/>
              <a:gd name="connsiteY136" fmla="*/ 133172 h 4264910"/>
              <a:gd name="connsiteX137" fmla="*/ 2022674 w 5889610"/>
              <a:gd name="connsiteY137" fmla="*/ 147168 h 4264910"/>
              <a:gd name="connsiteX138" fmla="*/ 1979319 w 5889610"/>
              <a:gd name="connsiteY138" fmla="*/ 161821 h 4264910"/>
              <a:gd name="connsiteX139" fmla="*/ 1936268 w 5889610"/>
              <a:gd name="connsiteY139" fmla="*/ 177126 h 4264910"/>
              <a:gd name="connsiteX140" fmla="*/ 1893528 w 5889610"/>
              <a:gd name="connsiteY140" fmla="*/ 193077 h 4264910"/>
              <a:gd name="connsiteX141" fmla="*/ 1851105 w 5889610"/>
              <a:gd name="connsiteY141" fmla="*/ 209668 h 4264910"/>
              <a:gd name="connsiteX142" fmla="*/ 1809003 w 5889610"/>
              <a:gd name="connsiteY142" fmla="*/ 226893 h 4264910"/>
              <a:gd name="connsiteX143" fmla="*/ 1767230 w 5889610"/>
              <a:gd name="connsiteY143" fmla="*/ 244746 h 4264910"/>
              <a:gd name="connsiteX144" fmla="*/ 1725791 w 5889610"/>
              <a:gd name="connsiteY144" fmla="*/ 263221 h 4264910"/>
              <a:gd name="connsiteX145" fmla="*/ 1684691 w 5889610"/>
              <a:gd name="connsiteY145" fmla="*/ 282313 h 4264910"/>
              <a:gd name="connsiteX146" fmla="*/ 1643938 w 5889610"/>
              <a:gd name="connsiteY146" fmla="*/ 302015 h 4264910"/>
              <a:gd name="connsiteX147" fmla="*/ 1603536 w 5889610"/>
              <a:gd name="connsiteY147" fmla="*/ 322322 h 4264910"/>
              <a:gd name="connsiteX148" fmla="*/ 1563492 w 5889610"/>
              <a:gd name="connsiteY148" fmla="*/ 343228 h 4264910"/>
              <a:gd name="connsiteX149" fmla="*/ 1523811 w 5889610"/>
              <a:gd name="connsiteY149" fmla="*/ 364727 h 4264910"/>
              <a:gd name="connsiteX150" fmla="*/ 1484499 w 5889610"/>
              <a:gd name="connsiteY150" fmla="*/ 386814 h 4264910"/>
              <a:gd name="connsiteX151" fmla="*/ 1445563 w 5889610"/>
              <a:gd name="connsiteY151" fmla="*/ 409481 h 4264910"/>
              <a:gd name="connsiteX152" fmla="*/ 1407007 w 5889610"/>
              <a:gd name="connsiteY152" fmla="*/ 432724 h 4264910"/>
              <a:gd name="connsiteX153" fmla="*/ 1368839 w 5889610"/>
              <a:gd name="connsiteY153" fmla="*/ 456536 h 4264910"/>
              <a:gd name="connsiteX154" fmla="*/ 1331064 w 5889610"/>
              <a:gd name="connsiteY154" fmla="*/ 480912 h 4264910"/>
              <a:gd name="connsiteX155" fmla="*/ 1293687 w 5889610"/>
              <a:gd name="connsiteY155" fmla="*/ 505845 h 4264910"/>
              <a:gd name="connsiteX156" fmla="*/ 1256715 w 5889610"/>
              <a:gd name="connsiteY156" fmla="*/ 531331 h 4264910"/>
              <a:gd name="connsiteX157" fmla="*/ 1220154 w 5889610"/>
              <a:gd name="connsiteY157" fmla="*/ 557362 h 4264910"/>
              <a:gd name="connsiteX158" fmla="*/ 1184009 w 5889610"/>
              <a:gd name="connsiteY158" fmla="*/ 583934 h 4264910"/>
              <a:gd name="connsiteX159" fmla="*/ 1148286 w 5889610"/>
              <a:gd name="connsiteY159" fmla="*/ 611040 h 4264910"/>
              <a:gd name="connsiteX160" fmla="*/ 1112991 w 5889610"/>
              <a:gd name="connsiteY160" fmla="*/ 638674 h 4264910"/>
              <a:gd name="connsiteX161" fmla="*/ 1078131 w 5889610"/>
              <a:gd name="connsiteY161" fmla="*/ 666831 h 4264910"/>
              <a:gd name="connsiteX162" fmla="*/ 1043710 w 5889610"/>
              <a:gd name="connsiteY162" fmla="*/ 695504 h 4264910"/>
              <a:gd name="connsiteX163" fmla="*/ 1009736 w 5889610"/>
              <a:gd name="connsiteY163" fmla="*/ 724688 h 4264910"/>
              <a:gd name="connsiteX164" fmla="*/ 976213 w 5889610"/>
              <a:gd name="connsiteY164" fmla="*/ 754377 h 4264910"/>
              <a:gd name="connsiteX165" fmla="*/ 943148 w 5889610"/>
              <a:gd name="connsiteY165" fmla="*/ 784566 h 4264910"/>
              <a:gd name="connsiteX166" fmla="*/ 910546 w 5889610"/>
              <a:gd name="connsiteY166" fmla="*/ 815247 h 4264910"/>
              <a:gd name="connsiteX167" fmla="*/ 878413 w 5889610"/>
              <a:gd name="connsiteY167" fmla="*/ 846416 h 4264910"/>
              <a:gd name="connsiteX168" fmla="*/ 846756 w 5889610"/>
              <a:gd name="connsiteY168" fmla="*/ 878066 h 4264910"/>
              <a:gd name="connsiteX169" fmla="*/ 815581 w 5889610"/>
              <a:gd name="connsiteY169" fmla="*/ 910192 h 4264910"/>
              <a:gd name="connsiteX170" fmla="*/ 784892 w 5889610"/>
              <a:gd name="connsiteY170" fmla="*/ 942787 h 4264910"/>
              <a:gd name="connsiteX171" fmla="*/ 754696 w 5889610"/>
              <a:gd name="connsiteY171" fmla="*/ 975846 h 4264910"/>
              <a:gd name="connsiteX172" fmla="*/ 724999 w 5889610"/>
              <a:gd name="connsiteY172" fmla="*/ 1009363 h 4264910"/>
              <a:gd name="connsiteX173" fmla="*/ 695807 w 5889610"/>
              <a:gd name="connsiteY173" fmla="*/ 1043332 h 4264910"/>
              <a:gd name="connsiteX174" fmla="*/ 667125 w 5889610"/>
              <a:gd name="connsiteY174" fmla="*/ 1077748 h 4264910"/>
              <a:gd name="connsiteX175" fmla="*/ 638960 w 5889610"/>
              <a:gd name="connsiteY175" fmla="*/ 1112604 h 4264910"/>
              <a:gd name="connsiteX176" fmla="*/ 611317 w 5889610"/>
              <a:gd name="connsiteY176" fmla="*/ 1147894 h 4264910"/>
              <a:gd name="connsiteX177" fmla="*/ 584202 w 5889610"/>
              <a:gd name="connsiteY177" fmla="*/ 1183613 h 4264910"/>
              <a:gd name="connsiteX178" fmla="*/ 557622 w 5889610"/>
              <a:gd name="connsiteY178" fmla="*/ 1219754 h 4264910"/>
              <a:gd name="connsiteX179" fmla="*/ 531582 w 5889610"/>
              <a:gd name="connsiteY179" fmla="*/ 1256313 h 4264910"/>
              <a:gd name="connsiteX180" fmla="*/ 506087 w 5889610"/>
              <a:gd name="connsiteY180" fmla="*/ 1293282 h 4264910"/>
              <a:gd name="connsiteX181" fmla="*/ 481145 w 5889610"/>
              <a:gd name="connsiteY181" fmla="*/ 1330656 h 4264910"/>
              <a:gd name="connsiteX182" fmla="*/ 456760 w 5889610"/>
              <a:gd name="connsiteY182" fmla="*/ 1368430 h 4264910"/>
              <a:gd name="connsiteX183" fmla="*/ 432939 w 5889610"/>
              <a:gd name="connsiteY183" fmla="*/ 1406597 h 4264910"/>
              <a:gd name="connsiteX184" fmla="*/ 409687 w 5889610"/>
              <a:gd name="connsiteY184" fmla="*/ 1445152 h 4264910"/>
              <a:gd name="connsiteX185" fmla="*/ 387011 w 5889610"/>
              <a:gd name="connsiteY185" fmla="*/ 1484088 h 4264910"/>
              <a:gd name="connsiteX186" fmla="*/ 364915 w 5889610"/>
              <a:gd name="connsiteY186" fmla="*/ 1523400 h 4264910"/>
              <a:gd name="connsiteX187" fmla="*/ 343407 w 5889610"/>
              <a:gd name="connsiteY187" fmla="*/ 1563082 h 4264910"/>
              <a:gd name="connsiteX188" fmla="*/ 322492 w 5889610"/>
              <a:gd name="connsiteY188" fmla="*/ 1603127 h 4264910"/>
              <a:gd name="connsiteX189" fmla="*/ 302176 w 5889610"/>
              <a:gd name="connsiteY189" fmla="*/ 1643531 h 4264910"/>
              <a:gd name="connsiteX190" fmla="*/ 282465 w 5889610"/>
              <a:gd name="connsiteY190" fmla="*/ 1684288 h 4264910"/>
              <a:gd name="connsiteX191" fmla="*/ 263365 w 5889610"/>
              <a:gd name="connsiteY191" fmla="*/ 1725390 h 4264910"/>
              <a:gd name="connsiteX192" fmla="*/ 244881 w 5889610"/>
              <a:gd name="connsiteY192" fmla="*/ 1766833 h 4264910"/>
              <a:gd name="connsiteX193" fmla="*/ 227019 w 5889610"/>
              <a:gd name="connsiteY193" fmla="*/ 1808611 h 4264910"/>
              <a:gd name="connsiteX194" fmla="*/ 209786 w 5889610"/>
              <a:gd name="connsiteY194" fmla="*/ 1850718 h 4264910"/>
              <a:gd name="connsiteX195" fmla="*/ 193187 w 5889610"/>
              <a:gd name="connsiteY195" fmla="*/ 1893147 h 4264910"/>
              <a:gd name="connsiteX196" fmla="*/ 177228 w 5889610"/>
              <a:gd name="connsiteY196" fmla="*/ 1935894 h 4264910"/>
              <a:gd name="connsiteX197" fmla="*/ 161915 w 5889610"/>
              <a:gd name="connsiteY197" fmla="*/ 1978952 h 4264910"/>
              <a:gd name="connsiteX198" fmla="*/ 147254 w 5889610"/>
              <a:gd name="connsiteY198" fmla="*/ 2022315 h 4264910"/>
              <a:gd name="connsiteX199" fmla="*/ 133251 w 5889610"/>
              <a:gd name="connsiteY199" fmla="*/ 2065977 h 4264910"/>
              <a:gd name="connsiteX200" fmla="*/ 119912 w 5889610"/>
              <a:gd name="connsiteY200" fmla="*/ 2109933 h 4264910"/>
              <a:gd name="connsiteX201" fmla="*/ 107242 w 5889610"/>
              <a:gd name="connsiteY201" fmla="*/ 2154177 h 4264910"/>
              <a:gd name="connsiteX202" fmla="*/ 95247 w 5889610"/>
              <a:gd name="connsiteY202" fmla="*/ 2198702 h 4264910"/>
              <a:gd name="connsiteX203" fmla="*/ 83934 w 5889610"/>
              <a:gd name="connsiteY203" fmla="*/ 2243504 h 4264910"/>
              <a:gd name="connsiteX204" fmla="*/ 73308 w 5889610"/>
              <a:gd name="connsiteY204" fmla="*/ 2288575 h 4264910"/>
              <a:gd name="connsiteX205" fmla="*/ 63375 w 5889610"/>
              <a:gd name="connsiteY205" fmla="*/ 2333911 h 4264910"/>
              <a:gd name="connsiteX206" fmla="*/ 54141 w 5889610"/>
              <a:gd name="connsiteY206" fmla="*/ 2379505 h 4264910"/>
              <a:gd name="connsiteX207" fmla="*/ 45613 w 5889610"/>
              <a:gd name="connsiteY207" fmla="*/ 2425352 h 4264910"/>
              <a:gd name="connsiteX208" fmla="*/ 37794 w 5889610"/>
              <a:gd name="connsiteY208" fmla="*/ 2471445 h 4264910"/>
              <a:gd name="connsiteX209" fmla="*/ 30693 w 5889610"/>
              <a:gd name="connsiteY209" fmla="*/ 2517779 h 4264910"/>
              <a:gd name="connsiteX210" fmla="*/ 24314 w 5889610"/>
              <a:gd name="connsiteY210" fmla="*/ 2564347 h 4264910"/>
              <a:gd name="connsiteX211" fmla="*/ 18663 w 5889610"/>
              <a:gd name="connsiteY211" fmla="*/ 2611145 h 4264910"/>
              <a:gd name="connsiteX212" fmla="*/ 13747 w 5889610"/>
              <a:gd name="connsiteY212" fmla="*/ 2658166 h 4264910"/>
              <a:gd name="connsiteX213" fmla="*/ 9571 w 5889610"/>
              <a:gd name="connsiteY213" fmla="*/ 2705404 h 4264910"/>
              <a:gd name="connsiteX214" fmla="*/ 6141 w 5889610"/>
              <a:gd name="connsiteY214" fmla="*/ 2752853 h 4264910"/>
              <a:gd name="connsiteX215" fmla="*/ 3463 w 5889610"/>
              <a:gd name="connsiteY215" fmla="*/ 2800508 h 4264910"/>
              <a:gd name="connsiteX216" fmla="*/ 1543 w 5889610"/>
              <a:gd name="connsiteY216" fmla="*/ 2848362 h 4264910"/>
              <a:gd name="connsiteX217" fmla="*/ 386 w 5889610"/>
              <a:gd name="connsiteY217" fmla="*/ 2896411 h 4264910"/>
              <a:gd name="connsiteX218" fmla="*/ 0 w 5889610"/>
              <a:gd name="connsiteY218"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782324 w 5889610"/>
              <a:gd name="connsiteY0" fmla="*/ 3735250 h 4264910"/>
              <a:gd name="connsiteX1" fmla="*/ 5794323 w 5889610"/>
              <a:gd name="connsiteY1" fmla="*/ 3690717 h 4264910"/>
              <a:gd name="connsiteX2" fmla="*/ 5826208 w 5889610"/>
              <a:gd name="connsiteY2" fmla="*/ 3555488 h 4264910"/>
              <a:gd name="connsiteX3" fmla="*/ 5835445 w 5889610"/>
              <a:gd name="connsiteY3" fmla="*/ 3509887 h 4264910"/>
              <a:gd name="connsiteX4" fmla="*/ 5843978 w 5889610"/>
              <a:gd name="connsiteY4" fmla="*/ 3464033 h 4264910"/>
              <a:gd name="connsiteX5" fmla="*/ 5851799 w 5889610"/>
              <a:gd name="connsiteY5" fmla="*/ 3417933 h 4264910"/>
              <a:gd name="connsiteX6" fmla="*/ 5858904 w 5889610"/>
              <a:gd name="connsiteY6" fmla="*/ 3371591 h 4264910"/>
              <a:gd name="connsiteX7" fmla="*/ 5865285 w 5889610"/>
              <a:gd name="connsiteY7" fmla="*/ 3325015 h 4264910"/>
              <a:gd name="connsiteX8" fmla="*/ 5870938 w 5889610"/>
              <a:gd name="connsiteY8" fmla="*/ 3278209 h 4264910"/>
              <a:gd name="connsiteX9" fmla="*/ 5875857 w 5889610"/>
              <a:gd name="connsiteY9" fmla="*/ 3231180 h 4264910"/>
              <a:gd name="connsiteX10" fmla="*/ 5880035 w 5889610"/>
              <a:gd name="connsiteY10" fmla="*/ 3183934 h 4264910"/>
              <a:gd name="connsiteX11" fmla="*/ 5883466 w 5889610"/>
              <a:gd name="connsiteY11" fmla="*/ 3136476 h 4264910"/>
              <a:gd name="connsiteX12" fmla="*/ 5886146 w 5889610"/>
              <a:gd name="connsiteY12" fmla="*/ 3088813 h 4264910"/>
              <a:gd name="connsiteX13" fmla="*/ 5888067 w 5889610"/>
              <a:gd name="connsiteY13" fmla="*/ 3040949 h 4264910"/>
              <a:gd name="connsiteX14" fmla="*/ 5889223 w 5889610"/>
              <a:gd name="connsiteY14" fmla="*/ 2992892 h 4264910"/>
              <a:gd name="connsiteX15" fmla="*/ 5889610 w 5889610"/>
              <a:gd name="connsiteY15" fmla="*/ 2944647 h 4264910"/>
              <a:gd name="connsiteX16" fmla="*/ 5889223 w 5889610"/>
              <a:gd name="connsiteY16" fmla="*/ 2896411 h 4264910"/>
              <a:gd name="connsiteX17" fmla="*/ 5888067 w 5889610"/>
              <a:gd name="connsiteY17" fmla="*/ 2848362 h 4264910"/>
              <a:gd name="connsiteX18" fmla="*/ 5886146 w 5889610"/>
              <a:gd name="connsiteY18" fmla="*/ 2800508 h 4264910"/>
              <a:gd name="connsiteX19" fmla="*/ 5883466 w 5889610"/>
              <a:gd name="connsiteY19" fmla="*/ 2752853 h 4264910"/>
              <a:gd name="connsiteX20" fmla="*/ 5880035 w 5889610"/>
              <a:gd name="connsiteY20" fmla="*/ 2705404 h 4264910"/>
              <a:gd name="connsiteX21" fmla="*/ 5875857 w 5889610"/>
              <a:gd name="connsiteY21" fmla="*/ 2658166 h 4264910"/>
              <a:gd name="connsiteX22" fmla="*/ 5870938 w 5889610"/>
              <a:gd name="connsiteY22" fmla="*/ 2611145 h 4264910"/>
              <a:gd name="connsiteX23" fmla="*/ 5865285 w 5889610"/>
              <a:gd name="connsiteY23" fmla="*/ 2564347 h 4264910"/>
              <a:gd name="connsiteX24" fmla="*/ 5858904 w 5889610"/>
              <a:gd name="connsiteY24" fmla="*/ 2517779 h 4264910"/>
              <a:gd name="connsiteX25" fmla="*/ 5851799 w 5889610"/>
              <a:gd name="connsiteY25" fmla="*/ 2471445 h 4264910"/>
              <a:gd name="connsiteX26" fmla="*/ 5843978 w 5889610"/>
              <a:gd name="connsiteY26" fmla="*/ 2425352 h 4264910"/>
              <a:gd name="connsiteX27" fmla="*/ 5835445 w 5889610"/>
              <a:gd name="connsiteY27" fmla="*/ 2379505 h 4264910"/>
              <a:gd name="connsiteX28" fmla="*/ 5826208 w 5889610"/>
              <a:gd name="connsiteY28" fmla="*/ 2333911 h 4264910"/>
              <a:gd name="connsiteX29" fmla="*/ 5816271 w 5889610"/>
              <a:gd name="connsiteY29" fmla="*/ 2288575 h 4264910"/>
              <a:gd name="connsiteX30" fmla="*/ 5805641 w 5889610"/>
              <a:gd name="connsiteY30" fmla="*/ 2243504 h 4264910"/>
              <a:gd name="connsiteX31" fmla="*/ 5794323 w 5889610"/>
              <a:gd name="connsiteY31" fmla="*/ 2198702 h 4264910"/>
              <a:gd name="connsiteX32" fmla="*/ 5782324 w 5889610"/>
              <a:gd name="connsiteY32" fmla="*/ 2154177 h 4264910"/>
              <a:gd name="connsiteX33" fmla="*/ 5769649 w 5889610"/>
              <a:gd name="connsiteY33" fmla="*/ 2109933 h 4264910"/>
              <a:gd name="connsiteX34" fmla="*/ 5756304 w 5889610"/>
              <a:gd name="connsiteY34" fmla="*/ 2065977 h 4264910"/>
              <a:gd name="connsiteX35" fmla="*/ 5742296 w 5889610"/>
              <a:gd name="connsiteY35" fmla="*/ 2022315 h 4264910"/>
              <a:gd name="connsiteX36" fmla="*/ 5727629 w 5889610"/>
              <a:gd name="connsiteY36" fmla="*/ 1978952 h 4264910"/>
              <a:gd name="connsiteX37" fmla="*/ 5712311 w 5889610"/>
              <a:gd name="connsiteY37" fmla="*/ 1935894 h 4264910"/>
              <a:gd name="connsiteX38" fmla="*/ 5696346 w 5889610"/>
              <a:gd name="connsiteY38" fmla="*/ 1893147 h 4264910"/>
              <a:gd name="connsiteX39" fmla="*/ 5679741 w 5889610"/>
              <a:gd name="connsiteY39" fmla="*/ 1850718 h 4264910"/>
              <a:gd name="connsiteX40" fmla="*/ 5662502 w 5889610"/>
              <a:gd name="connsiteY40" fmla="*/ 1808611 h 4264910"/>
              <a:gd name="connsiteX41" fmla="*/ 5644634 w 5889610"/>
              <a:gd name="connsiteY41" fmla="*/ 1766833 h 4264910"/>
              <a:gd name="connsiteX42" fmla="*/ 5626144 w 5889610"/>
              <a:gd name="connsiteY42" fmla="*/ 1725390 h 4264910"/>
              <a:gd name="connsiteX43" fmla="*/ 5607037 w 5889610"/>
              <a:gd name="connsiteY43" fmla="*/ 1684288 h 4264910"/>
              <a:gd name="connsiteX44" fmla="*/ 5587319 w 5889610"/>
              <a:gd name="connsiteY44" fmla="*/ 1643531 h 4264910"/>
              <a:gd name="connsiteX45" fmla="*/ 5566997 w 5889610"/>
              <a:gd name="connsiteY45" fmla="*/ 1603127 h 4264910"/>
              <a:gd name="connsiteX46" fmla="*/ 5546075 w 5889610"/>
              <a:gd name="connsiteY46" fmla="*/ 1563082 h 4264910"/>
              <a:gd name="connsiteX47" fmla="*/ 5524560 w 5889610"/>
              <a:gd name="connsiteY47" fmla="*/ 1523400 h 4264910"/>
              <a:gd name="connsiteX48" fmla="*/ 5502458 w 5889610"/>
              <a:gd name="connsiteY48" fmla="*/ 1484088 h 4264910"/>
              <a:gd name="connsiteX49" fmla="*/ 5479775 w 5889610"/>
              <a:gd name="connsiteY49" fmla="*/ 1445152 h 4264910"/>
              <a:gd name="connsiteX50" fmla="*/ 5456516 w 5889610"/>
              <a:gd name="connsiteY50" fmla="*/ 1406597 h 4264910"/>
              <a:gd name="connsiteX51" fmla="*/ 5432688 w 5889610"/>
              <a:gd name="connsiteY51" fmla="*/ 1368430 h 4264910"/>
              <a:gd name="connsiteX52" fmla="*/ 5408296 w 5889610"/>
              <a:gd name="connsiteY52" fmla="*/ 1330656 h 4264910"/>
              <a:gd name="connsiteX53" fmla="*/ 5383346 w 5889610"/>
              <a:gd name="connsiteY53" fmla="*/ 1293282 h 4264910"/>
              <a:gd name="connsiteX54" fmla="*/ 5357845 w 5889610"/>
              <a:gd name="connsiteY54" fmla="*/ 1256313 h 4264910"/>
              <a:gd name="connsiteX55" fmla="*/ 5331797 w 5889610"/>
              <a:gd name="connsiteY55" fmla="*/ 1219754 h 4264910"/>
              <a:gd name="connsiteX56" fmla="*/ 5305210 w 5889610"/>
              <a:gd name="connsiteY56" fmla="*/ 1183613 h 4264910"/>
              <a:gd name="connsiteX57" fmla="*/ 5278088 w 5889610"/>
              <a:gd name="connsiteY57" fmla="*/ 1147894 h 4264910"/>
              <a:gd name="connsiteX58" fmla="*/ 5250438 w 5889610"/>
              <a:gd name="connsiteY58" fmla="*/ 1112604 h 4264910"/>
              <a:gd name="connsiteX59" fmla="*/ 5222266 w 5889610"/>
              <a:gd name="connsiteY59" fmla="*/ 1077748 h 4264910"/>
              <a:gd name="connsiteX60" fmla="*/ 5193577 w 5889610"/>
              <a:gd name="connsiteY60" fmla="*/ 1043332 h 4264910"/>
              <a:gd name="connsiteX61" fmla="*/ 5164378 w 5889610"/>
              <a:gd name="connsiteY61" fmla="*/ 1009363 h 4264910"/>
              <a:gd name="connsiteX62" fmla="*/ 5134674 w 5889610"/>
              <a:gd name="connsiteY62" fmla="*/ 975846 h 4264910"/>
              <a:gd name="connsiteX63" fmla="*/ 5104471 w 5889610"/>
              <a:gd name="connsiteY63" fmla="*/ 942787 h 4264910"/>
              <a:gd name="connsiteX64" fmla="*/ 5073776 w 5889610"/>
              <a:gd name="connsiteY64" fmla="*/ 910192 h 4264910"/>
              <a:gd name="connsiteX65" fmla="*/ 5042593 w 5889610"/>
              <a:gd name="connsiteY65" fmla="*/ 878066 h 4264910"/>
              <a:gd name="connsiteX66" fmla="*/ 5010930 w 5889610"/>
              <a:gd name="connsiteY66" fmla="*/ 846416 h 4264910"/>
              <a:gd name="connsiteX67" fmla="*/ 4978791 w 5889610"/>
              <a:gd name="connsiteY67" fmla="*/ 815247 h 4264910"/>
              <a:gd name="connsiteX68" fmla="*/ 4946183 w 5889610"/>
              <a:gd name="connsiteY68" fmla="*/ 784566 h 4264910"/>
              <a:gd name="connsiteX69" fmla="*/ 4913111 w 5889610"/>
              <a:gd name="connsiteY69" fmla="*/ 754377 h 4264910"/>
              <a:gd name="connsiteX70" fmla="*/ 4879582 w 5889610"/>
              <a:gd name="connsiteY70" fmla="*/ 724688 h 4264910"/>
              <a:gd name="connsiteX71" fmla="*/ 4845602 w 5889610"/>
              <a:gd name="connsiteY71" fmla="*/ 695504 h 4264910"/>
              <a:gd name="connsiteX72" fmla="*/ 4811176 w 5889610"/>
              <a:gd name="connsiteY72" fmla="*/ 666831 h 4264910"/>
              <a:gd name="connsiteX73" fmla="*/ 4776309 w 5889610"/>
              <a:gd name="connsiteY73" fmla="*/ 638674 h 4264910"/>
              <a:gd name="connsiteX74" fmla="*/ 4741009 w 5889610"/>
              <a:gd name="connsiteY74" fmla="*/ 611040 h 4264910"/>
              <a:gd name="connsiteX75" fmla="*/ 4705281 w 5889610"/>
              <a:gd name="connsiteY75" fmla="*/ 583934 h 4264910"/>
              <a:gd name="connsiteX76" fmla="*/ 4669131 w 5889610"/>
              <a:gd name="connsiteY76" fmla="*/ 557362 h 4264910"/>
              <a:gd name="connsiteX77" fmla="*/ 4632565 w 5889610"/>
              <a:gd name="connsiteY77" fmla="*/ 531331 h 4264910"/>
              <a:gd name="connsiteX78" fmla="*/ 4595588 w 5889610"/>
              <a:gd name="connsiteY78" fmla="*/ 505845 h 4264910"/>
              <a:gd name="connsiteX79" fmla="*/ 4558207 w 5889610"/>
              <a:gd name="connsiteY79" fmla="*/ 480912 h 4264910"/>
              <a:gd name="connsiteX80" fmla="*/ 4520427 w 5889610"/>
              <a:gd name="connsiteY80" fmla="*/ 456536 h 4264910"/>
              <a:gd name="connsiteX81" fmla="*/ 4482255 w 5889610"/>
              <a:gd name="connsiteY81" fmla="*/ 432724 h 4264910"/>
              <a:gd name="connsiteX82" fmla="*/ 4443696 w 5889610"/>
              <a:gd name="connsiteY82" fmla="*/ 409481 h 4264910"/>
              <a:gd name="connsiteX83" fmla="*/ 4404756 w 5889610"/>
              <a:gd name="connsiteY83" fmla="*/ 386814 h 4264910"/>
              <a:gd name="connsiteX84" fmla="*/ 4365441 w 5889610"/>
              <a:gd name="connsiteY84" fmla="*/ 364727 h 4264910"/>
              <a:gd name="connsiteX85" fmla="*/ 4325757 w 5889610"/>
              <a:gd name="connsiteY85" fmla="*/ 343228 h 4264910"/>
              <a:gd name="connsiteX86" fmla="*/ 4285710 w 5889610"/>
              <a:gd name="connsiteY86" fmla="*/ 322322 h 4264910"/>
              <a:gd name="connsiteX87" fmla="*/ 4245306 w 5889610"/>
              <a:gd name="connsiteY87" fmla="*/ 302015 h 4264910"/>
              <a:gd name="connsiteX88" fmla="*/ 4204550 w 5889610"/>
              <a:gd name="connsiteY88" fmla="*/ 282313 h 4264910"/>
              <a:gd name="connsiteX89" fmla="*/ 4163449 w 5889610"/>
              <a:gd name="connsiteY89" fmla="*/ 263221 h 4264910"/>
              <a:gd name="connsiteX90" fmla="*/ 4122008 w 5889610"/>
              <a:gd name="connsiteY90" fmla="*/ 244746 h 4264910"/>
              <a:gd name="connsiteX91" fmla="*/ 4080233 w 5889610"/>
              <a:gd name="connsiteY91" fmla="*/ 226893 h 4264910"/>
              <a:gd name="connsiteX92" fmla="*/ 4038131 w 5889610"/>
              <a:gd name="connsiteY92" fmla="*/ 209668 h 4264910"/>
              <a:gd name="connsiteX93" fmla="*/ 3995707 w 5889610"/>
              <a:gd name="connsiteY93" fmla="*/ 193077 h 4264910"/>
              <a:gd name="connsiteX94" fmla="*/ 3952967 w 5889610"/>
              <a:gd name="connsiteY94" fmla="*/ 177126 h 4264910"/>
              <a:gd name="connsiteX95" fmla="*/ 3909916 w 5889610"/>
              <a:gd name="connsiteY95" fmla="*/ 161821 h 4264910"/>
              <a:gd name="connsiteX96" fmla="*/ 3866562 w 5889610"/>
              <a:gd name="connsiteY96" fmla="*/ 147168 h 4264910"/>
              <a:gd name="connsiteX97" fmla="*/ 3822909 w 5889610"/>
              <a:gd name="connsiteY97" fmla="*/ 133172 h 4264910"/>
              <a:gd name="connsiteX98" fmla="*/ 3778964 w 5889610"/>
              <a:gd name="connsiteY98" fmla="*/ 119840 h 4264910"/>
              <a:gd name="connsiteX99" fmla="*/ 3734732 w 5889610"/>
              <a:gd name="connsiteY99" fmla="*/ 107177 h 4264910"/>
              <a:gd name="connsiteX100" fmla="*/ 3690220 w 5889610"/>
              <a:gd name="connsiteY100" fmla="*/ 95189 h 4264910"/>
              <a:gd name="connsiteX101" fmla="*/ 3645433 w 5889610"/>
              <a:gd name="connsiteY101" fmla="*/ 83883 h 4264910"/>
              <a:gd name="connsiteX102" fmla="*/ 3600377 w 5889610"/>
              <a:gd name="connsiteY102" fmla="*/ 73263 h 4264910"/>
              <a:gd name="connsiteX103" fmla="*/ 3555058 w 5889610"/>
              <a:gd name="connsiteY103" fmla="*/ 63336 h 4264910"/>
              <a:gd name="connsiteX104" fmla="*/ 3509482 w 5889610"/>
              <a:gd name="connsiteY104" fmla="*/ 54107 h 4264910"/>
              <a:gd name="connsiteX105" fmla="*/ 3463655 w 5889610"/>
              <a:gd name="connsiteY105" fmla="*/ 45584 h 4264910"/>
              <a:gd name="connsiteX106" fmla="*/ 3417583 w 5889610"/>
              <a:gd name="connsiteY106" fmla="*/ 37770 h 4264910"/>
              <a:gd name="connsiteX107" fmla="*/ 3371271 w 5889610"/>
              <a:gd name="connsiteY107" fmla="*/ 30673 h 4264910"/>
              <a:gd name="connsiteX108" fmla="*/ 3324726 w 5889610"/>
              <a:gd name="connsiteY108" fmla="*/ 24298 h 4264910"/>
              <a:gd name="connsiteX109" fmla="*/ 3277953 w 5889610"/>
              <a:gd name="connsiteY109" fmla="*/ 18651 h 4264910"/>
              <a:gd name="connsiteX110" fmla="*/ 3230959 w 5889610"/>
              <a:gd name="connsiteY110" fmla="*/ 13738 h 4264910"/>
              <a:gd name="connsiteX111" fmla="*/ 3183749 w 5889610"/>
              <a:gd name="connsiteY111" fmla="*/ 9564 h 4264910"/>
              <a:gd name="connsiteX112" fmla="*/ 3136329 w 5889610"/>
              <a:gd name="connsiteY112" fmla="*/ 6137 h 4264910"/>
              <a:gd name="connsiteX113" fmla="*/ 3088705 w 5889610"/>
              <a:gd name="connsiteY113" fmla="*/ 3461 h 4264910"/>
              <a:gd name="connsiteX114" fmla="*/ 3040883 w 5889610"/>
              <a:gd name="connsiteY114" fmla="*/ 1542 h 4264910"/>
              <a:gd name="connsiteX115" fmla="*/ 2992869 w 5889610"/>
              <a:gd name="connsiteY115" fmla="*/ 386 h 4264910"/>
              <a:gd name="connsiteX116" fmla="*/ 2944668 w 5889610"/>
              <a:gd name="connsiteY116" fmla="*/ 0 h 4264910"/>
              <a:gd name="connsiteX117" fmla="*/ 2896458 w 5889610"/>
              <a:gd name="connsiteY117" fmla="*/ 386 h 4264910"/>
              <a:gd name="connsiteX118" fmla="*/ 2848435 w 5889610"/>
              <a:gd name="connsiteY118" fmla="*/ 1542 h 4264910"/>
              <a:gd name="connsiteX119" fmla="*/ 2800604 w 5889610"/>
              <a:gd name="connsiteY119" fmla="*/ 3461 h 4264910"/>
              <a:gd name="connsiteX120" fmla="*/ 2752972 w 5889610"/>
              <a:gd name="connsiteY120" fmla="*/ 6137 h 4264910"/>
              <a:gd name="connsiteX121" fmla="*/ 2705544 w 5889610"/>
              <a:gd name="connsiteY121" fmla="*/ 9564 h 4264910"/>
              <a:gd name="connsiteX122" fmla="*/ 2658327 w 5889610"/>
              <a:gd name="connsiteY122" fmla="*/ 13738 h 4264910"/>
              <a:gd name="connsiteX123" fmla="*/ 2611326 w 5889610"/>
              <a:gd name="connsiteY123" fmla="*/ 18651 h 4264910"/>
              <a:gd name="connsiteX124" fmla="*/ 2564548 w 5889610"/>
              <a:gd name="connsiteY124" fmla="*/ 24298 h 4264910"/>
              <a:gd name="connsiteX125" fmla="*/ 2517997 w 5889610"/>
              <a:gd name="connsiteY125" fmla="*/ 30673 h 4264910"/>
              <a:gd name="connsiteX126" fmla="*/ 2471680 w 5889610"/>
              <a:gd name="connsiteY126" fmla="*/ 37770 h 4264910"/>
              <a:gd name="connsiteX127" fmla="*/ 2425603 w 5889610"/>
              <a:gd name="connsiteY127" fmla="*/ 45584 h 4264910"/>
              <a:gd name="connsiteX128" fmla="*/ 2379772 w 5889610"/>
              <a:gd name="connsiteY128" fmla="*/ 54107 h 4264910"/>
              <a:gd name="connsiteX129" fmla="*/ 2334192 w 5889610"/>
              <a:gd name="connsiteY129" fmla="*/ 63336 h 4264910"/>
              <a:gd name="connsiteX130" fmla="*/ 2288870 w 5889610"/>
              <a:gd name="connsiteY130" fmla="*/ 73263 h 4264910"/>
              <a:gd name="connsiteX131" fmla="*/ 2243811 w 5889610"/>
              <a:gd name="connsiteY131" fmla="*/ 83883 h 4264910"/>
              <a:gd name="connsiteX132" fmla="*/ 2199022 w 5889610"/>
              <a:gd name="connsiteY132" fmla="*/ 95189 h 4264910"/>
              <a:gd name="connsiteX133" fmla="*/ 2154507 w 5889610"/>
              <a:gd name="connsiteY133" fmla="*/ 107177 h 4264910"/>
              <a:gd name="connsiteX134" fmla="*/ 2110274 w 5889610"/>
              <a:gd name="connsiteY134" fmla="*/ 119840 h 4264910"/>
              <a:gd name="connsiteX135" fmla="*/ 2066327 w 5889610"/>
              <a:gd name="connsiteY135" fmla="*/ 133172 h 4264910"/>
              <a:gd name="connsiteX136" fmla="*/ 2022674 w 5889610"/>
              <a:gd name="connsiteY136" fmla="*/ 147168 h 4264910"/>
              <a:gd name="connsiteX137" fmla="*/ 1979319 w 5889610"/>
              <a:gd name="connsiteY137" fmla="*/ 161821 h 4264910"/>
              <a:gd name="connsiteX138" fmla="*/ 1936268 w 5889610"/>
              <a:gd name="connsiteY138" fmla="*/ 177126 h 4264910"/>
              <a:gd name="connsiteX139" fmla="*/ 1893528 w 5889610"/>
              <a:gd name="connsiteY139" fmla="*/ 193077 h 4264910"/>
              <a:gd name="connsiteX140" fmla="*/ 1851105 w 5889610"/>
              <a:gd name="connsiteY140" fmla="*/ 209668 h 4264910"/>
              <a:gd name="connsiteX141" fmla="*/ 1809003 w 5889610"/>
              <a:gd name="connsiteY141" fmla="*/ 226893 h 4264910"/>
              <a:gd name="connsiteX142" fmla="*/ 1767230 w 5889610"/>
              <a:gd name="connsiteY142" fmla="*/ 244746 h 4264910"/>
              <a:gd name="connsiteX143" fmla="*/ 1725791 w 5889610"/>
              <a:gd name="connsiteY143" fmla="*/ 263221 h 4264910"/>
              <a:gd name="connsiteX144" fmla="*/ 1684691 w 5889610"/>
              <a:gd name="connsiteY144" fmla="*/ 282313 h 4264910"/>
              <a:gd name="connsiteX145" fmla="*/ 1643938 w 5889610"/>
              <a:gd name="connsiteY145" fmla="*/ 302015 h 4264910"/>
              <a:gd name="connsiteX146" fmla="*/ 1603536 w 5889610"/>
              <a:gd name="connsiteY146" fmla="*/ 322322 h 4264910"/>
              <a:gd name="connsiteX147" fmla="*/ 1563492 w 5889610"/>
              <a:gd name="connsiteY147" fmla="*/ 343228 h 4264910"/>
              <a:gd name="connsiteX148" fmla="*/ 1523811 w 5889610"/>
              <a:gd name="connsiteY148" fmla="*/ 364727 h 4264910"/>
              <a:gd name="connsiteX149" fmla="*/ 1484499 w 5889610"/>
              <a:gd name="connsiteY149" fmla="*/ 386814 h 4264910"/>
              <a:gd name="connsiteX150" fmla="*/ 1445563 w 5889610"/>
              <a:gd name="connsiteY150" fmla="*/ 409481 h 4264910"/>
              <a:gd name="connsiteX151" fmla="*/ 1407007 w 5889610"/>
              <a:gd name="connsiteY151" fmla="*/ 432724 h 4264910"/>
              <a:gd name="connsiteX152" fmla="*/ 1368839 w 5889610"/>
              <a:gd name="connsiteY152" fmla="*/ 456536 h 4264910"/>
              <a:gd name="connsiteX153" fmla="*/ 1331064 w 5889610"/>
              <a:gd name="connsiteY153" fmla="*/ 480912 h 4264910"/>
              <a:gd name="connsiteX154" fmla="*/ 1293687 w 5889610"/>
              <a:gd name="connsiteY154" fmla="*/ 505845 h 4264910"/>
              <a:gd name="connsiteX155" fmla="*/ 1256715 w 5889610"/>
              <a:gd name="connsiteY155" fmla="*/ 531331 h 4264910"/>
              <a:gd name="connsiteX156" fmla="*/ 1220154 w 5889610"/>
              <a:gd name="connsiteY156" fmla="*/ 557362 h 4264910"/>
              <a:gd name="connsiteX157" fmla="*/ 1184009 w 5889610"/>
              <a:gd name="connsiteY157" fmla="*/ 583934 h 4264910"/>
              <a:gd name="connsiteX158" fmla="*/ 1148286 w 5889610"/>
              <a:gd name="connsiteY158" fmla="*/ 611040 h 4264910"/>
              <a:gd name="connsiteX159" fmla="*/ 1112991 w 5889610"/>
              <a:gd name="connsiteY159" fmla="*/ 638674 h 4264910"/>
              <a:gd name="connsiteX160" fmla="*/ 1078131 w 5889610"/>
              <a:gd name="connsiteY160" fmla="*/ 666831 h 4264910"/>
              <a:gd name="connsiteX161" fmla="*/ 1043710 w 5889610"/>
              <a:gd name="connsiteY161" fmla="*/ 695504 h 4264910"/>
              <a:gd name="connsiteX162" fmla="*/ 1009736 w 5889610"/>
              <a:gd name="connsiteY162" fmla="*/ 724688 h 4264910"/>
              <a:gd name="connsiteX163" fmla="*/ 976213 w 5889610"/>
              <a:gd name="connsiteY163" fmla="*/ 754377 h 4264910"/>
              <a:gd name="connsiteX164" fmla="*/ 943148 w 5889610"/>
              <a:gd name="connsiteY164" fmla="*/ 784566 h 4264910"/>
              <a:gd name="connsiteX165" fmla="*/ 910546 w 5889610"/>
              <a:gd name="connsiteY165" fmla="*/ 815247 h 4264910"/>
              <a:gd name="connsiteX166" fmla="*/ 878413 w 5889610"/>
              <a:gd name="connsiteY166" fmla="*/ 846416 h 4264910"/>
              <a:gd name="connsiteX167" fmla="*/ 846756 w 5889610"/>
              <a:gd name="connsiteY167" fmla="*/ 878066 h 4264910"/>
              <a:gd name="connsiteX168" fmla="*/ 815581 w 5889610"/>
              <a:gd name="connsiteY168" fmla="*/ 910192 h 4264910"/>
              <a:gd name="connsiteX169" fmla="*/ 784892 w 5889610"/>
              <a:gd name="connsiteY169" fmla="*/ 942787 h 4264910"/>
              <a:gd name="connsiteX170" fmla="*/ 754696 w 5889610"/>
              <a:gd name="connsiteY170" fmla="*/ 975846 h 4264910"/>
              <a:gd name="connsiteX171" fmla="*/ 724999 w 5889610"/>
              <a:gd name="connsiteY171" fmla="*/ 1009363 h 4264910"/>
              <a:gd name="connsiteX172" fmla="*/ 695807 w 5889610"/>
              <a:gd name="connsiteY172" fmla="*/ 1043332 h 4264910"/>
              <a:gd name="connsiteX173" fmla="*/ 667125 w 5889610"/>
              <a:gd name="connsiteY173" fmla="*/ 1077748 h 4264910"/>
              <a:gd name="connsiteX174" fmla="*/ 638960 w 5889610"/>
              <a:gd name="connsiteY174" fmla="*/ 1112604 h 4264910"/>
              <a:gd name="connsiteX175" fmla="*/ 611317 w 5889610"/>
              <a:gd name="connsiteY175" fmla="*/ 1147894 h 4264910"/>
              <a:gd name="connsiteX176" fmla="*/ 584202 w 5889610"/>
              <a:gd name="connsiteY176" fmla="*/ 1183613 h 4264910"/>
              <a:gd name="connsiteX177" fmla="*/ 557622 w 5889610"/>
              <a:gd name="connsiteY177" fmla="*/ 1219754 h 4264910"/>
              <a:gd name="connsiteX178" fmla="*/ 531582 w 5889610"/>
              <a:gd name="connsiteY178" fmla="*/ 1256313 h 4264910"/>
              <a:gd name="connsiteX179" fmla="*/ 506087 w 5889610"/>
              <a:gd name="connsiteY179" fmla="*/ 1293282 h 4264910"/>
              <a:gd name="connsiteX180" fmla="*/ 481145 w 5889610"/>
              <a:gd name="connsiteY180" fmla="*/ 1330656 h 4264910"/>
              <a:gd name="connsiteX181" fmla="*/ 456760 w 5889610"/>
              <a:gd name="connsiteY181" fmla="*/ 1368430 h 4264910"/>
              <a:gd name="connsiteX182" fmla="*/ 432939 w 5889610"/>
              <a:gd name="connsiteY182" fmla="*/ 1406597 h 4264910"/>
              <a:gd name="connsiteX183" fmla="*/ 409687 w 5889610"/>
              <a:gd name="connsiteY183" fmla="*/ 1445152 h 4264910"/>
              <a:gd name="connsiteX184" fmla="*/ 387011 w 5889610"/>
              <a:gd name="connsiteY184" fmla="*/ 1484088 h 4264910"/>
              <a:gd name="connsiteX185" fmla="*/ 364915 w 5889610"/>
              <a:gd name="connsiteY185" fmla="*/ 1523400 h 4264910"/>
              <a:gd name="connsiteX186" fmla="*/ 343407 w 5889610"/>
              <a:gd name="connsiteY186" fmla="*/ 1563082 h 4264910"/>
              <a:gd name="connsiteX187" fmla="*/ 322492 w 5889610"/>
              <a:gd name="connsiteY187" fmla="*/ 1603127 h 4264910"/>
              <a:gd name="connsiteX188" fmla="*/ 302176 w 5889610"/>
              <a:gd name="connsiteY188" fmla="*/ 1643531 h 4264910"/>
              <a:gd name="connsiteX189" fmla="*/ 282465 w 5889610"/>
              <a:gd name="connsiteY189" fmla="*/ 1684288 h 4264910"/>
              <a:gd name="connsiteX190" fmla="*/ 263365 w 5889610"/>
              <a:gd name="connsiteY190" fmla="*/ 1725390 h 4264910"/>
              <a:gd name="connsiteX191" fmla="*/ 244881 w 5889610"/>
              <a:gd name="connsiteY191" fmla="*/ 1766833 h 4264910"/>
              <a:gd name="connsiteX192" fmla="*/ 227019 w 5889610"/>
              <a:gd name="connsiteY192" fmla="*/ 1808611 h 4264910"/>
              <a:gd name="connsiteX193" fmla="*/ 209786 w 5889610"/>
              <a:gd name="connsiteY193" fmla="*/ 1850718 h 4264910"/>
              <a:gd name="connsiteX194" fmla="*/ 193187 w 5889610"/>
              <a:gd name="connsiteY194" fmla="*/ 1893147 h 4264910"/>
              <a:gd name="connsiteX195" fmla="*/ 177228 w 5889610"/>
              <a:gd name="connsiteY195" fmla="*/ 1935894 h 4264910"/>
              <a:gd name="connsiteX196" fmla="*/ 161915 w 5889610"/>
              <a:gd name="connsiteY196" fmla="*/ 1978952 h 4264910"/>
              <a:gd name="connsiteX197" fmla="*/ 147254 w 5889610"/>
              <a:gd name="connsiteY197" fmla="*/ 2022315 h 4264910"/>
              <a:gd name="connsiteX198" fmla="*/ 133251 w 5889610"/>
              <a:gd name="connsiteY198" fmla="*/ 2065977 h 4264910"/>
              <a:gd name="connsiteX199" fmla="*/ 119912 w 5889610"/>
              <a:gd name="connsiteY199" fmla="*/ 2109933 h 4264910"/>
              <a:gd name="connsiteX200" fmla="*/ 107242 w 5889610"/>
              <a:gd name="connsiteY200" fmla="*/ 2154177 h 4264910"/>
              <a:gd name="connsiteX201" fmla="*/ 95247 w 5889610"/>
              <a:gd name="connsiteY201" fmla="*/ 2198702 h 4264910"/>
              <a:gd name="connsiteX202" fmla="*/ 83934 w 5889610"/>
              <a:gd name="connsiteY202" fmla="*/ 2243504 h 4264910"/>
              <a:gd name="connsiteX203" fmla="*/ 73308 w 5889610"/>
              <a:gd name="connsiteY203" fmla="*/ 2288575 h 4264910"/>
              <a:gd name="connsiteX204" fmla="*/ 63375 w 5889610"/>
              <a:gd name="connsiteY204" fmla="*/ 2333911 h 4264910"/>
              <a:gd name="connsiteX205" fmla="*/ 54141 w 5889610"/>
              <a:gd name="connsiteY205" fmla="*/ 2379505 h 4264910"/>
              <a:gd name="connsiteX206" fmla="*/ 45613 w 5889610"/>
              <a:gd name="connsiteY206" fmla="*/ 2425352 h 4264910"/>
              <a:gd name="connsiteX207" fmla="*/ 37794 w 5889610"/>
              <a:gd name="connsiteY207" fmla="*/ 2471445 h 4264910"/>
              <a:gd name="connsiteX208" fmla="*/ 30693 w 5889610"/>
              <a:gd name="connsiteY208" fmla="*/ 2517779 h 4264910"/>
              <a:gd name="connsiteX209" fmla="*/ 24314 w 5889610"/>
              <a:gd name="connsiteY209" fmla="*/ 2564347 h 4264910"/>
              <a:gd name="connsiteX210" fmla="*/ 18663 w 5889610"/>
              <a:gd name="connsiteY210" fmla="*/ 2611145 h 4264910"/>
              <a:gd name="connsiteX211" fmla="*/ 13747 w 5889610"/>
              <a:gd name="connsiteY211" fmla="*/ 2658166 h 4264910"/>
              <a:gd name="connsiteX212" fmla="*/ 9571 w 5889610"/>
              <a:gd name="connsiteY212" fmla="*/ 2705404 h 4264910"/>
              <a:gd name="connsiteX213" fmla="*/ 6141 w 5889610"/>
              <a:gd name="connsiteY213" fmla="*/ 2752853 h 4264910"/>
              <a:gd name="connsiteX214" fmla="*/ 3463 w 5889610"/>
              <a:gd name="connsiteY214" fmla="*/ 2800508 h 4264910"/>
              <a:gd name="connsiteX215" fmla="*/ 1543 w 5889610"/>
              <a:gd name="connsiteY215" fmla="*/ 2848362 h 4264910"/>
              <a:gd name="connsiteX216" fmla="*/ 386 w 5889610"/>
              <a:gd name="connsiteY216" fmla="*/ 2896411 h 4264910"/>
              <a:gd name="connsiteX217" fmla="*/ 0 w 5889610"/>
              <a:gd name="connsiteY217"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794323 w 5889610"/>
              <a:gd name="connsiteY0" fmla="*/ 3690717 h 4264910"/>
              <a:gd name="connsiteX1" fmla="*/ 5826208 w 5889610"/>
              <a:gd name="connsiteY1" fmla="*/ 3555488 h 4264910"/>
              <a:gd name="connsiteX2" fmla="*/ 5835445 w 5889610"/>
              <a:gd name="connsiteY2" fmla="*/ 3509887 h 4264910"/>
              <a:gd name="connsiteX3" fmla="*/ 5843978 w 5889610"/>
              <a:gd name="connsiteY3" fmla="*/ 3464033 h 4264910"/>
              <a:gd name="connsiteX4" fmla="*/ 5851799 w 5889610"/>
              <a:gd name="connsiteY4" fmla="*/ 3417933 h 4264910"/>
              <a:gd name="connsiteX5" fmla="*/ 5858904 w 5889610"/>
              <a:gd name="connsiteY5" fmla="*/ 3371591 h 4264910"/>
              <a:gd name="connsiteX6" fmla="*/ 5865285 w 5889610"/>
              <a:gd name="connsiteY6" fmla="*/ 3325015 h 4264910"/>
              <a:gd name="connsiteX7" fmla="*/ 5870938 w 5889610"/>
              <a:gd name="connsiteY7" fmla="*/ 3278209 h 4264910"/>
              <a:gd name="connsiteX8" fmla="*/ 5875857 w 5889610"/>
              <a:gd name="connsiteY8" fmla="*/ 3231180 h 4264910"/>
              <a:gd name="connsiteX9" fmla="*/ 5880035 w 5889610"/>
              <a:gd name="connsiteY9" fmla="*/ 3183934 h 4264910"/>
              <a:gd name="connsiteX10" fmla="*/ 5883466 w 5889610"/>
              <a:gd name="connsiteY10" fmla="*/ 3136476 h 4264910"/>
              <a:gd name="connsiteX11" fmla="*/ 5886146 w 5889610"/>
              <a:gd name="connsiteY11" fmla="*/ 3088813 h 4264910"/>
              <a:gd name="connsiteX12" fmla="*/ 5888067 w 5889610"/>
              <a:gd name="connsiteY12" fmla="*/ 3040949 h 4264910"/>
              <a:gd name="connsiteX13" fmla="*/ 5889223 w 5889610"/>
              <a:gd name="connsiteY13" fmla="*/ 2992892 h 4264910"/>
              <a:gd name="connsiteX14" fmla="*/ 5889610 w 5889610"/>
              <a:gd name="connsiteY14" fmla="*/ 2944647 h 4264910"/>
              <a:gd name="connsiteX15" fmla="*/ 5889223 w 5889610"/>
              <a:gd name="connsiteY15" fmla="*/ 2896411 h 4264910"/>
              <a:gd name="connsiteX16" fmla="*/ 5888067 w 5889610"/>
              <a:gd name="connsiteY16" fmla="*/ 2848362 h 4264910"/>
              <a:gd name="connsiteX17" fmla="*/ 5886146 w 5889610"/>
              <a:gd name="connsiteY17" fmla="*/ 2800508 h 4264910"/>
              <a:gd name="connsiteX18" fmla="*/ 5883466 w 5889610"/>
              <a:gd name="connsiteY18" fmla="*/ 2752853 h 4264910"/>
              <a:gd name="connsiteX19" fmla="*/ 5880035 w 5889610"/>
              <a:gd name="connsiteY19" fmla="*/ 2705404 h 4264910"/>
              <a:gd name="connsiteX20" fmla="*/ 5875857 w 5889610"/>
              <a:gd name="connsiteY20" fmla="*/ 2658166 h 4264910"/>
              <a:gd name="connsiteX21" fmla="*/ 5870938 w 5889610"/>
              <a:gd name="connsiteY21" fmla="*/ 2611145 h 4264910"/>
              <a:gd name="connsiteX22" fmla="*/ 5865285 w 5889610"/>
              <a:gd name="connsiteY22" fmla="*/ 2564347 h 4264910"/>
              <a:gd name="connsiteX23" fmla="*/ 5858904 w 5889610"/>
              <a:gd name="connsiteY23" fmla="*/ 2517779 h 4264910"/>
              <a:gd name="connsiteX24" fmla="*/ 5851799 w 5889610"/>
              <a:gd name="connsiteY24" fmla="*/ 2471445 h 4264910"/>
              <a:gd name="connsiteX25" fmla="*/ 5843978 w 5889610"/>
              <a:gd name="connsiteY25" fmla="*/ 2425352 h 4264910"/>
              <a:gd name="connsiteX26" fmla="*/ 5835445 w 5889610"/>
              <a:gd name="connsiteY26" fmla="*/ 2379505 h 4264910"/>
              <a:gd name="connsiteX27" fmla="*/ 5826208 w 5889610"/>
              <a:gd name="connsiteY27" fmla="*/ 2333911 h 4264910"/>
              <a:gd name="connsiteX28" fmla="*/ 5816271 w 5889610"/>
              <a:gd name="connsiteY28" fmla="*/ 2288575 h 4264910"/>
              <a:gd name="connsiteX29" fmla="*/ 5805641 w 5889610"/>
              <a:gd name="connsiteY29" fmla="*/ 2243504 h 4264910"/>
              <a:gd name="connsiteX30" fmla="*/ 5794323 w 5889610"/>
              <a:gd name="connsiteY30" fmla="*/ 2198702 h 4264910"/>
              <a:gd name="connsiteX31" fmla="*/ 5782324 w 5889610"/>
              <a:gd name="connsiteY31" fmla="*/ 2154177 h 4264910"/>
              <a:gd name="connsiteX32" fmla="*/ 5769649 w 5889610"/>
              <a:gd name="connsiteY32" fmla="*/ 2109933 h 4264910"/>
              <a:gd name="connsiteX33" fmla="*/ 5756304 w 5889610"/>
              <a:gd name="connsiteY33" fmla="*/ 2065977 h 4264910"/>
              <a:gd name="connsiteX34" fmla="*/ 5742296 w 5889610"/>
              <a:gd name="connsiteY34" fmla="*/ 2022315 h 4264910"/>
              <a:gd name="connsiteX35" fmla="*/ 5727629 w 5889610"/>
              <a:gd name="connsiteY35" fmla="*/ 1978952 h 4264910"/>
              <a:gd name="connsiteX36" fmla="*/ 5712311 w 5889610"/>
              <a:gd name="connsiteY36" fmla="*/ 1935894 h 4264910"/>
              <a:gd name="connsiteX37" fmla="*/ 5696346 w 5889610"/>
              <a:gd name="connsiteY37" fmla="*/ 1893147 h 4264910"/>
              <a:gd name="connsiteX38" fmla="*/ 5679741 w 5889610"/>
              <a:gd name="connsiteY38" fmla="*/ 1850718 h 4264910"/>
              <a:gd name="connsiteX39" fmla="*/ 5662502 w 5889610"/>
              <a:gd name="connsiteY39" fmla="*/ 1808611 h 4264910"/>
              <a:gd name="connsiteX40" fmla="*/ 5644634 w 5889610"/>
              <a:gd name="connsiteY40" fmla="*/ 1766833 h 4264910"/>
              <a:gd name="connsiteX41" fmla="*/ 5626144 w 5889610"/>
              <a:gd name="connsiteY41" fmla="*/ 1725390 h 4264910"/>
              <a:gd name="connsiteX42" fmla="*/ 5607037 w 5889610"/>
              <a:gd name="connsiteY42" fmla="*/ 1684288 h 4264910"/>
              <a:gd name="connsiteX43" fmla="*/ 5587319 w 5889610"/>
              <a:gd name="connsiteY43" fmla="*/ 1643531 h 4264910"/>
              <a:gd name="connsiteX44" fmla="*/ 5566997 w 5889610"/>
              <a:gd name="connsiteY44" fmla="*/ 1603127 h 4264910"/>
              <a:gd name="connsiteX45" fmla="*/ 5546075 w 5889610"/>
              <a:gd name="connsiteY45" fmla="*/ 1563082 h 4264910"/>
              <a:gd name="connsiteX46" fmla="*/ 5524560 w 5889610"/>
              <a:gd name="connsiteY46" fmla="*/ 1523400 h 4264910"/>
              <a:gd name="connsiteX47" fmla="*/ 5502458 w 5889610"/>
              <a:gd name="connsiteY47" fmla="*/ 1484088 h 4264910"/>
              <a:gd name="connsiteX48" fmla="*/ 5479775 w 5889610"/>
              <a:gd name="connsiteY48" fmla="*/ 1445152 h 4264910"/>
              <a:gd name="connsiteX49" fmla="*/ 5456516 w 5889610"/>
              <a:gd name="connsiteY49" fmla="*/ 1406597 h 4264910"/>
              <a:gd name="connsiteX50" fmla="*/ 5432688 w 5889610"/>
              <a:gd name="connsiteY50" fmla="*/ 1368430 h 4264910"/>
              <a:gd name="connsiteX51" fmla="*/ 5408296 w 5889610"/>
              <a:gd name="connsiteY51" fmla="*/ 1330656 h 4264910"/>
              <a:gd name="connsiteX52" fmla="*/ 5383346 w 5889610"/>
              <a:gd name="connsiteY52" fmla="*/ 1293282 h 4264910"/>
              <a:gd name="connsiteX53" fmla="*/ 5357845 w 5889610"/>
              <a:gd name="connsiteY53" fmla="*/ 1256313 h 4264910"/>
              <a:gd name="connsiteX54" fmla="*/ 5331797 w 5889610"/>
              <a:gd name="connsiteY54" fmla="*/ 1219754 h 4264910"/>
              <a:gd name="connsiteX55" fmla="*/ 5305210 w 5889610"/>
              <a:gd name="connsiteY55" fmla="*/ 1183613 h 4264910"/>
              <a:gd name="connsiteX56" fmla="*/ 5278088 w 5889610"/>
              <a:gd name="connsiteY56" fmla="*/ 1147894 h 4264910"/>
              <a:gd name="connsiteX57" fmla="*/ 5250438 w 5889610"/>
              <a:gd name="connsiteY57" fmla="*/ 1112604 h 4264910"/>
              <a:gd name="connsiteX58" fmla="*/ 5222266 w 5889610"/>
              <a:gd name="connsiteY58" fmla="*/ 1077748 h 4264910"/>
              <a:gd name="connsiteX59" fmla="*/ 5193577 w 5889610"/>
              <a:gd name="connsiteY59" fmla="*/ 1043332 h 4264910"/>
              <a:gd name="connsiteX60" fmla="*/ 5164378 w 5889610"/>
              <a:gd name="connsiteY60" fmla="*/ 1009363 h 4264910"/>
              <a:gd name="connsiteX61" fmla="*/ 5134674 w 5889610"/>
              <a:gd name="connsiteY61" fmla="*/ 975846 h 4264910"/>
              <a:gd name="connsiteX62" fmla="*/ 5104471 w 5889610"/>
              <a:gd name="connsiteY62" fmla="*/ 942787 h 4264910"/>
              <a:gd name="connsiteX63" fmla="*/ 5073776 w 5889610"/>
              <a:gd name="connsiteY63" fmla="*/ 910192 h 4264910"/>
              <a:gd name="connsiteX64" fmla="*/ 5042593 w 5889610"/>
              <a:gd name="connsiteY64" fmla="*/ 878066 h 4264910"/>
              <a:gd name="connsiteX65" fmla="*/ 5010930 w 5889610"/>
              <a:gd name="connsiteY65" fmla="*/ 846416 h 4264910"/>
              <a:gd name="connsiteX66" fmla="*/ 4978791 w 5889610"/>
              <a:gd name="connsiteY66" fmla="*/ 815247 h 4264910"/>
              <a:gd name="connsiteX67" fmla="*/ 4946183 w 5889610"/>
              <a:gd name="connsiteY67" fmla="*/ 784566 h 4264910"/>
              <a:gd name="connsiteX68" fmla="*/ 4913111 w 5889610"/>
              <a:gd name="connsiteY68" fmla="*/ 754377 h 4264910"/>
              <a:gd name="connsiteX69" fmla="*/ 4879582 w 5889610"/>
              <a:gd name="connsiteY69" fmla="*/ 724688 h 4264910"/>
              <a:gd name="connsiteX70" fmla="*/ 4845602 w 5889610"/>
              <a:gd name="connsiteY70" fmla="*/ 695504 h 4264910"/>
              <a:gd name="connsiteX71" fmla="*/ 4811176 w 5889610"/>
              <a:gd name="connsiteY71" fmla="*/ 666831 h 4264910"/>
              <a:gd name="connsiteX72" fmla="*/ 4776309 w 5889610"/>
              <a:gd name="connsiteY72" fmla="*/ 638674 h 4264910"/>
              <a:gd name="connsiteX73" fmla="*/ 4741009 w 5889610"/>
              <a:gd name="connsiteY73" fmla="*/ 611040 h 4264910"/>
              <a:gd name="connsiteX74" fmla="*/ 4705281 w 5889610"/>
              <a:gd name="connsiteY74" fmla="*/ 583934 h 4264910"/>
              <a:gd name="connsiteX75" fmla="*/ 4669131 w 5889610"/>
              <a:gd name="connsiteY75" fmla="*/ 557362 h 4264910"/>
              <a:gd name="connsiteX76" fmla="*/ 4632565 w 5889610"/>
              <a:gd name="connsiteY76" fmla="*/ 531331 h 4264910"/>
              <a:gd name="connsiteX77" fmla="*/ 4595588 w 5889610"/>
              <a:gd name="connsiteY77" fmla="*/ 505845 h 4264910"/>
              <a:gd name="connsiteX78" fmla="*/ 4558207 w 5889610"/>
              <a:gd name="connsiteY78" fmla="*/ 480912 h 4264910"/>
              <a:gd name="connsiteX79" fmla="*/ 4520427 w 5889610"/>
              <a:gd name="connsiteY79" fmla="*/ 456536 h 4264910"/>
              <a:gd name="connsiteX80" fmla="*/ 4482255 w 5889610"/>
              <a:gd name="connsiteY80" fmla="*/ 432724 h 4264910"/>
              <a:gd name="connsiteX81" fmla="*/ 4443696 w 5889610"/>
              <a:gd name="connsiteY81" fmla="*/ 409481 h 4264910"/>
              <a:gd name="connsiteX82" fmla="*/ 4404756 w 5889610"/>
              <a:gd name="connsiteY82" fmla="*/ 386814 h 4264910"/>
              <a:gd name="connsiteX83" fmla="*/ 4365441 w 5889610"/>
              <a:gd name="connsiteY83" fmla="*/ 364727 h 4264910"/>
              <a:gd name="connsiteX84" fmla="*/ 4325757 w 5889610"/>
              <a:gd name="connsiteY84" fmla="*/ 343228 h 4264910"/>
              <a:gd name="connsiteX85" fmla="*/ 4285710 w 5889610"/>
              <a:gd name="connsiteY85" fmla="*/ 322322 h 4264910"/>
              <a:gd name="connsiteX86" fmla="*/ 4245306 w 5889610"/>
              <a:gd name="connsiteY86" fmla="*/ 302015 h 4264910"/>
              <a:gd name="connsiteX87" fmla="*/ 4204550 w 5889610"/>
              <a:gd name="connsiteY87" fmla="*/ 282313 h 4264910"/>
              <a:gd name="connsiteX88" fmla="*/ 4163449 w 5889610"/>
              <a:gd name="connsiteY88" fmla="*/ 263221 h 4264910"/>
              <a:gd name="connsiteX89" fmla="*/ 4122008 w 5889610"/>
              <a:gd name="connsiteY89" fmla="*/ 244746 h 4264910"/>
              <a:gd name="connsiteX90" fmla="*/ 4080233 w 5889610"/>
              <a:gd name="connsiteY90" fmla="*/ 226893 h 4264910"/>
              <a:gd name="connsiteX91" fmla="*/ 4038131 w 5889610"/>
              <a:gd name="connsiteY91" fmla="*/ 209668 h 4264910"/>
              <a:gd name="connsiteX92" fmla="*/ 3995707 w 5889610"/>
              <a:gd name="connsiteY92" fmla="*/ 193077 h 4264910"/>
              <a:gd name="connsiteX93" fmla="*/ 3952967 w 5889610"/>
              <a:gd name="connsiteY93" fmla="*/ 177126 h 4264910"/>
              <a:gd name="connsiteX94" fmla="*/ 3909916 w 5889610"/>
              <a:gd name="connsiteY94" fmla="*/ 161821 h 4264910"/>
              <a:gd name="connsiteX95" fmla="*/ 3866562 w 5889610"/>
              <a:gd name="connsiteY95" fmla="*/ 147168 h 4264910"/>
              <a:gd name="connsiteX96" fmla="*/ 3822909 w 5889610"/>
              <a:gd name="connsiteY96" fmla="*/ 133172 h 4264910"/>
              <a:gd name="connsiteX97" fmla="*/ 3778964 w 5889610"/>
              <a:gd name="connsiteY97" fmla="*/ 119840 h 4264910"/>
              <a:gd name="connsiteX98" fmla="*/ 3734732 w 5889610"/>
              <a:gd name="connsiteY98" fmla="*/ 107177 h 4264910"/>
              <a:gd name="connsiteX99" fmla="*/ 3690220 w 5889610"/>
              <a:gd name="connsiteY99" fmla="*/ 95189 h 4264910"/>
              <a:gd name="connsiteX100" fmla="*/ 3645433 w 5889610"/>
              <a:gd name="connsiteY100" fmla="*/ 83883 h 4264910"/>
              <a:gd name="connsiteX101" fmla="*/ 3600377 w 5889610"/>
              <a:gd name="connsiteY101" fmla="*/ 73263 h 4264910"/>
              <a:gd name="connsiteX102" fmla="*/ 3555058 w 5889610"/>
              <a:gd name="connsiteY102" fmla="*/ 63336 h 4264910"/>
              <a:gd name="connsiteX103" fmla="*/ 3509482 w 5889610"/>
              <a:gd name="connsiteY103" fmla="*/ 54107 h 4264910"/>
              <a:gd name="connsiteX104" fmla="*/ 3463655 w 5889610"/>
              <a:gd name="connsiteY104" fmla="*/ 45584 h 4264910"/>
              <a:gd name="connsiteX105" fmla="*/ 3417583 w 5889610"/>
              <a:gd name="connsiteY105" fmla="*/ 37770 h 4264910"/>
              <a:gd name="connsiteX106" fmla="*/ 3371271 w 5889610"/>
              <a:gd name="connsiteY106" fmla="*/ 30673 h 4264910"/>
              <a:gd name="connsiteX107" fmla="*/ 3324726 w 5889610"/>
              <a:gd name="connsiteY107" fmla="*/ 24298 h 4264910"/>
              <a:gd name="connsiteX108" fmla="*/ 3277953 w 5889610"/>
              <a:gd name="connsiteY108" fmla="*/ 18651 h 4264910"/>
              <a:gd name="connsiteX109" fmla="*/ 3230959 w 5889610"/>
              <a:gd name="connsiteY109" fmla="*/ 13738 h 4264910"/>
              <a:gd name="connsiteX110" fmla="*/ 3183749 w 5889610"/>
              <a:gd name="connsiteY110" fmla="*/ 9564 h 4264910"/>
              <a:gd name="connsiteX111" fmla="*/ 3136329 w 5889610"/>
              <a:gd name="connsiteY111" fmla="*/ 6137 h 4264910"/>
              <a:gd name="connsiteX112" fmla="*/ 3088705 w 5889610"/>
              <a:gd name="connsiteY112" fmla="*/ 3461 h 4264910"/>
              <a:gd name="connsiteX113" fmla="*/ 3040883 w 5889610"/>
              <a:gd name="connsiteY113" fmla="*/ 1542 h 4264910"/>
              <a:gd name="connsiteX114" fmla="*/ 2992869 w 5889610"/>
              <a:gd name="connsiteY114" fmla="*/ 386 h 4264910"/>
              <a:gd name="connsiteX115" fmla="*/ 2944668 w 5889610"/>
              <a:gd name="connsiteY115" fmla="*/ 0 h 4264910"/>
              <a:gd name="connsiteX116" fmla="*/ 2896458 w 5889610"/>
              <a:gd name="connsiteY116" fmla="*/ 386 h 4264910"/>
              <a:gd name="connsiteX117" fmla="*/ 2848435 w 5889610"/>
              <a:gd name="connsiteY117" fmla="*/ 1542 h 4264910"/>
              <a:gd name="connsiteX118" fmla="*/ 2800604 w 5889610"/>
              <a:gd name="connsiteY118" fmla="*/ 3461 h 4264910"/>
              <a:gd name="connsiteX119" fmla="*/ 2752972 w 5889610"/>
              <a:gd name="connsiteY119" fmla="*/ 6137 h 4264910"/>
              <a:gd name="connsiteX120" fmla="*/ 2705544 w 5889610"/>
              <a:gd name="connsiteY120" fmla="*/ 9564 h 4264910"/>
              <a:gd name="connsiteX121" fmla="*/ 2658327 w 5889610"/>
              <a:gd name="connsiteY121" fmla="*/ 13738 h 4264910"/>
              <a:gd name="connsiteX122" fmla="*/ 2611326 w 5889610"/>
              <a:gd name="connsiteY122" fmla="*/ 18651 h 4264910"/>
              <a:gd name="connsiteX123" fmla="*/ 2564548 w 5889610"/>
              <a:gd name="connsiteY123" fmla="*/ 24298 h 4264910"/>
              <a:gd name="connsiteX124" fmla="*/ 2517997 w 5889610"/>
              <a:gd name="connsiteY124" fmla="*/ 30673 h 4264910"/>
              <a:gd name="connsiteX125" fmla="*/ 2471680 w 5889610"/>
              <a:gd name="connsiteY125" fmla="*/ 37770 h 4264910"/>
              <a:gd name="connsiteX126" fmla="*/ 2425603 w 5889610"/>
              <a:gd name="connsiteY126" fmla="*/ 45584 h 4264910"/>
              <a:gd name="connsiteX127" fmla="*/ 2379772 w 5889610"/>
              <a:gd name="connsiteY127" fmla="*/ 54107 h 4264910"/>
              <a:gd name="connsiteX128" fmla="*/ 2334192 w 5889610"/>
              <a:gd name="connsiteY128" fmla="*/ 63336 h 4264910"/>
              <a:gd name="connsiteX129" fmla="*/ 2288870 w 5889610"/>
              <a:gd name="connsiteY129" fmla="*/ 73263 h 4264910"/>
              <a:gd name="connsiteX130" fmla="*/ 2243811 w 5889610"/>
              <a:gd name="connsiteY130" fmla="*/ 83883 h 4264910"/>
              <a:gd name="connsiteX131" fmla="*/ 2199022 w 5889610"/>
              <a:gd name="connsiteY131" fmla="*/ 95189 h 4264910"/>
              <a:gd name="connsiteX132" fmla="*/ 2154507 w 5889610"/>
              <a:gd name="connsiteY132" fmla="*/ 107177 h 4264910"/>
              <a:gd name="connsiteX133" fmla="*/ 2110274 w 5889610"/>
              <a:gd name="connsiteY133" fmla="*/ 119840 h 4264910"/>
              <a:gd name="connsiteX134" fmla="*/ 2066327 w 5889610"/>
              <a:gd name="connsiteY134" fmla="*/ 133172 h 4264910"/>
              <a:gd name="connsiteX135" fmla="*/ 2022674 w 5889610"/>
              <a:gd name="connsiteY135" fmla="*/ 147168 h 4264910"/>
              <a:gd name="connsiteX136" fmla="*/ 1979319 w 5889610"/>
              <a:gd name="connsiteY136" fmla="*/ 161821 h 4264910"/>
              <a:gd name="connsiteX137" fmla="*/ 1936268 w 5889610"/>
              <a:gd name="connsiteY137" fmla="*/ 177126 h 4264910"/>
              <a:gd name="connsiteX138" fmla="*/ 1893528 w 5889610"/>
              <a:gd name="connsiteY138" fmla="*/ 193077 h 4264910"/>
              <a:gd name="connsiteX139" fmla="*/ 1851105 w 5889610"/>
              <a:gd name="connsiteY139" fmla="*/ 209668 h 4264910"/>
              <a:gd name="connsiteX140" fmla="*/ 1809003 w 5889610"/>
              <a:gd name="connsiteY140" fmla="*/ 226893 h 4264910"/>
              <a:gd name="connsiteX141" fmla="*/ 1767230 w 5889610"/>
              <a:gd name="connsiteY141" fmla="*/ 244746 h 4264910"/>
              <a:gd name="connsiteX142" fmla="*/ 1725791 w 5889610"/>
              <a:gd name="connsiteY142" fmla="*/ 263221 h 4264910"/>
              <a:gd name="connsiteX143" fmla="*/ 1684691 w 5889610"/>
              <a:gd name="connsiteY143" fmla="*/ 282313 h 4264910"/>
              <a:gd name="connsiteX144" fmla="*/ 1643938 w 5889610"/>
              <a:gd name="connsiteY144" fmla="*/ 302015 h 4264910"/>
              <a:gd name="connsiteX145" fmla="*/ 1603536 w 5889610"/>
              <a:gd name="connsiteY145" fmla="*/ 322322 h 4264910"/>
              <a:gd name="connsiteX146" fmla="*/ 1563492 w 5889610"/>
              <a:gd name="connsiteY146" fmla="*/ 343228 h 4264910"/>
              <a:gd name="connsiteX147" fmla="*/ 1523811 w 5889610"/>
              <a:gd name="connsiteY147" fmla="*/ 364727 h 4264910"/>
              <a:gd name="connsiteX148" fmla="*/ 1484499 w 5889610"/>
              <a:gd name="connsiteY148" fmla="*/ 386814 h 4264910"/>
              <a:gd name="connsiteX149" fmla="*/ 1445563 w 5889610"/>
              <a:gd name="connsiteY149" fmla="*/ 409481 h 4264910"/>
              <a:gd name="connsiteX150" fmla="*/ 1407007 w 5889610"/>
              <a:gd name="connsiteY150" fmla="*/ 432724 h 4264910"/>
              <a:gd name="connsiteX151" fmla="*/ 1368839 w 5889610"/>
              <a:gd name="connsiteY151" fmla="*/ 456536 h 4264910"/>
              <a:gd name="connsiteX152" fmla="*/ 1331064 w 5889610"/>
              <a:gd name="connsiteY152" fmla="*/ 480912 h 4264910"/>
              <a:gd name="connsiteX153" fmla="*/ 1293687 w 5889610"/>
              <a:gd name="connsiteY153" fmla="*/ 505845 h 4264910"/>
              <a:gd name="connsiteX154" fmla="*/ 1256715 w 5889610"/>
              <a:gd name="connsiteY154" fmla="*/ 531331 h 4264910"/>
              <a:gd name="connsiteX155" fmla="*/ 1220154 w 5889610"/>
              <a:gd name="connsiteY155" fmla="*/ 557362 h 4264910"/>
              <a:gd name="connsiteX156" fmla="*/ 1184009 w 5889610"/>
              <a:gd name="connsiteY156" fmla="*/ 583934 h 4264910"/>
              <a:gd name="connsiteX157" fmla="*/ 1148286 w 5889610"/>
              <a:gd name="connsiteY157" fmla="*/ 611040 h 4264910"/>
              <a:gd name="connsiteX158" fmla="*/ 1112991 w 5889610"/>
              <a:gd name="connsiteY158" fmla="*/ 638674 h 4264910"/>
              <a:gd name="connsiteX159" fmla="*/ 1078131 w 5889610"/>
              <a:gd name="connsiteY159" fmla="*/ 666831 h 4264910"/>
              <a:gd name="connsiteX160" fmla="*/ 1043710 w 5889610"/>
              <a:gd name="connsiteY160" fmla="*/ 695504 h 4264910"/>
              <a:gd name="connsiteX161" fmla="*/ 1009736 w 5889610"/>
              <a:gd name="connsiteY161" fmla="*/ 724688 h 4264910"/>
              <a:gd name="connsiteX162" fmla="*/ 976213 w 5889610"/>
              <a:gd name="connsiteY162" fmla="*/ 754377 h 4264910"/>
              <a:gd name="connsiteX163" fmla="*/ 943148 w 5889610"/>
              <a:gd name="connsiteY163" fmla="*/ 784566 h 4264910"/>
              <a:gd name="connsiteX164" fmla="*/ 910546 w 5889610"/>
              <a:gd name="connsiteY164" fmla="*/ 815247 h 4264910"/>
              <a:gd name="connsiteX165" fmla="*/ 878413 w 5889610"/>
              <a:gd name="connsiteY165" fmla="*/ 846416 h 4264910"/>
              <a:gd name="connsiteX166" fmla="*/ 846756 w 5889610"/>
              <a:gd name="connsiteY166" fmla="*/ 878066 h 4264910"/>
              <a:gd name="connsiteX167" fmla="*/ 815581 w 5889610"/>
              <a:gd name="connsiteY167" fmla="*/ 910192 h 4264910"/>
              <a:gd name="connsiteX168" fmla="*/ 784892 w 5889610"/>
              <a:gd name="connsiteY168" fmla="*/ 942787 h 4264910"/>
              <a:gd name="connsiteX169" fmla="*/ 754696 w 5889610"/>
              <a:gd name="connsiteY169" fmla="*/ 975846 h 4264910"/>
              <a:gd name="connsiteX170" fmla="*/ 724999 w 5889610"/>
              <a:gd name="connsiteY170" fmla="*/ 1009363 h 4264910"/>
              <a:gd name="connsiteX171" fmla="*/ 695807 w 5889610"/>
              <a:gd name="connsiteY171" fmla="*/ 1043332 h 4264910"/>
              <a:gd name="connsiteX172" fmla="*/ 667125 w 5889610"/>
              <a:gd name="connsiteY172" fmla="*/ 1077748 h 4264910"/>
              <a:gd name="connsiteX173" fmla="*/ 638960 w 5889610"/>
              <a:gd name="connsiteY173" fmla="*/ 1112604 h 4264910"/>
              <a:gd name="connsiteX174" fmla="*/ 611317 w 5889610"/>
              <a:gd name="connsiteY174" fmla="*/ 1147894 h 4264910"/>
              <a:gd name="connsiteX175" fmla="*/ 584202 w 5889610"/>
              <a:gd name="connsiteY175" fmla="*/ 1183613 h 4264910"/>
              <a:gd name="connsiteX176" fmla="*/ 557622 w 5889610"/>
              <a:gd name="connsiteY176" fmla="*/ 1219754 h 4264910"/>
              <a:gd name="connsiteX177" fmla="*/ 531582 w 5889610"/>
              <a:gd name="connsiteY177" fmla="*/ 1256313 h 4264910"/>
              <a:gd name="connsiteX178" fmla="*/ 506087 w 5889610"/>
              <a:gd name="connsiteY178" fmla="*/ 1293282 h 4264910"/>
              <a:gd name="connsiteX179" fmla="*/ 481145 w 5889610"/>
              <a:gd name="connsiteY179" fmla="*/ 1330656 h 4264910"/>
              <a:gd name="connsiteX180" fmla="*/ 456760 w 5889610"/>
              <a:gd name="connsiteY180" fmla="*/ 1368430 h 4264910"/>
              <a:gd name="connsiteX181" fmla="*/ 432939 w 5889610"/>
              <a:gd name="connsiteY181" fmla="*/ 1406597 h 4264910"/>
              <a:gd name="connsiteX182" fmla="*/ 409687 w 5889610"/>
              <a:gd name="connsiteY182" fmla="*/ 1445152 h 4264910"/>
              <a:gd name="connsiteX183" fmla="*/ 387011 w 5889610"/>
              <a:gd name="connsiteY183" fmla="*/ 1484088 h 4264910"/>
              <a:gd name="connsiteX184" fmla="*/ 364915 w 5889610"/>
              <a:gd name="connsiteY184" fmla="*/ 1523400 h 4264910"/>
              <a:gd name="connsiteX185" fmla="*/ 343407 w 5889610"/>
              <a:gd name="connsiteY185" fmla="*/ 1563082 h 4264910"/>
              <a:gd name="connsiteX186" fmla="*/ 322492 w 5889610"/>
              <a:gd name="connsiteY186" fmla="*/ 1603127 h 4264910"/>
              <a:gd name="connsiteX187" fmla="*/ 302176 w 5889610"/>
              <a:gd name="connsiteY187" fmla="*/ 1643531 h 4264910"/>
              <a:gd name="connsiteX188" fmla="*/ 282465 w 5889610"/>
              <a:gd name="connsiteY188" fmla="*/ 1684288 h 4264910"/>
              <a:gd name="connsiteX189" fmla="*/ 263365 w 5889610"/>
              <a:gd name="connsiteY189" fmla="*/ 1725390 h 4264910"/>
              <a:gd name="connsiteX190" fmla="*/ 244881 w 5889610"/>
              <a:gd name="connsiteY190" fmla="*/ 1766833 h 4264910"/>
              <a:gd name="connsiteX191" fmla="*/ 227019 w 5889610"/>
              <a:gd name="connsiteY191" fmla="*/ 1808611 h 4264910"/>
              <a:gd name="connsiteX192" fmla="*/ 209786 w 5889610"/>
              <a:gd name="connsiteY192" fmla="*/ 1850718 h 4264910"/>
              <a:gd name="connsiteX193" fmla="*/ 193187 w 5889610"/>
              <a:gd name="connsiteY193" fmla="*/ 1893147 h 4264910"/>
              <a:gd name="connsiteX194" fmla="*/ 177228 w 5889610"/>
              <a:gd name="connsiteY194" fmla="*/ 1935894 h 4264910"/>
              <a:gd name="connsiteX195" fmla="*/ 161915 w 5889610"/>
              <a:gd name="connsiteY195" fmla="*/ 1978952 h 4264910"/>
              <a:gd name="connsiteX196" fmla="*/ 147254 w 5889610"/>
              <a:gd name="connsiteY196" fmla="*/ 2022315 h 4264910"/>
              <a:gd name="connsiteX197" fmla="*/ 133251 w 5889610"/>
              <a:gd name="connsiteY197" fmla="*/ 2065977 h 4264910"/>
              <a:gd name="connsiteX198" fmla="*/ 119912 w 5889610"/>
              <a:gd name="connsiteY198" fmla="*/ 2109933 h 4264910"/>
              <a:gd name="connsiteX199" fmla="*/ 107242 w 5889610"/>
              <a:gd name="connsiteY199" fmla="*/ 2154177 h 4264910"/>
              <a:gd name="connsiteX200" fmla="*/ 95247 w 5889610"/>
              <a:gd name="connsiteY200" fmla="*/ 2198702 h 4264910"/>
              <a:gd name="connsiteX201" fmla="*/ 83934 w 5889610"/>
              <a:gd name="connsiteY201" fmla="*/ 2243504 h 4264910"/>
              <a:gd name="connsiteX202" fmla="*/ 73308 w 5889610"/>
              <a:gd name="connsiteY202" fmla="*/ 2288575 h 4264910"/>
              <a:gd name="connsiteX203" fmla="*/ 63375 w 5889610"/>
              <a:gd name="connsiteY203" fmla="*/ 2333911 h 4264910"/>
              <a:gd name="connsiteX204" fmla="*/ 54141 w 5889610"/>
              <a:gd name="connsiteY204" fmla="*/ 2379505 h 4264910"/>
              <a:gd name="connsiteX205" fmla="*/ 45613 w 5889610"/>
              <a:gd name="connsiteY205" fmla="*/ 2425352 h 4264910"/>
              <a:gd name="connsiteX206" fmla="*/ 37794 w 5889610"/>
              <a:gd name="connsiteY206" fmla="*/ 2471445 h 4264910"/>
              <a:gd name="connsiteX207" fmla="*/ 30693 w 5889610"/>
              <a:gd name="connsiteY207" fmla="*/ 2517779 h 4264910"/>
              <a:gd name="connsiteX208" fmla="*/ 24314 w 5889610"/>
              <a:gd name="connsiteY208" fmla="*/ 2564347 h 4264910"/>
              <a:gd name="connsiteX209" fmla="*/ 18663 w 5889610"/>
              <a:gd name="connsiteY209" fmla="*/ 2611145 h 4264910"/>
              <a:gd name="connsiteX210" fmla="*/ 13747 w 5889610"/>
              <a:gd name="connsiteY210" fmla="*/ 2658166 h 4264910"/>
              <a:gd name="connsiteX211" fmla="*/ 9571 w 5889610"/>
              <a:gd name="connsiteY211" fmla="*/ 2705404 h 4264910"/>
              <a:gd name="connsiteX212" fmla="*/ 6141 w 5889610"/>
              <a:gd name="connsiteY212" fmla="*/ 2752853 h 4264910"/>
              <a:gd name="connsiteX213" fmla="*/ 3463 w 5889610"/>
              <a:gd name="connsiteY213" fmla="*/ 2800508 h 4264910"/>
              <a:gd name="connsiteX214" fmla="*/ 1543 w 5889610"/>
              <a:gd name="connsiteY214" fmla="*/ 2848362 h 4264910"/>
              <a:gd name="connsiteX215" fmla="*/ 386 w 5889610"/>
              <a:gd name="connsiteY215" fmla="*/ 2896411 h 4264910"/>
              <a:gd name="connsiteX216" fmla="*/ 0 w 5889610"/>
              <a:gd name="connsiteY216" fmla="*/ 2944647 h 4264910"/>
              <a:gd name="connsiteX0" fmla="*/ 0 w 5889610"/>
              <a:gd name="connsiteY0" fmla="*/ 2944647 h 4264910"/>
              <a:gd name="connsiteX1" fmla="*/ 386 w 5889610"/>
              <a:gd name="connsiteY1" fmla="*/ 2992892 h 4264910"/>
              <a:gd name="connsiteX2" fmla="*/ 1543 w 5889610"/>
              <a:gd name="connsiteY2" fmla="*/ 3040949 h 4264910"/>
              <a:gd name="connsiteX3" fmla="*/ 3463 w 5889610"/>
              <a:gd name="connsiteY3" fmla="*/ 3088813 h 4264910"/>
              <a:gd name="connsiteX4" fmla="*/ 6141 w 5889610"/>
              <a:gd name="connsiteY4" fmla="*/ 3136476 h 4264910"/>
              <a:gd name="connsiteX5" fmla="*/ 9571 w 5889610"/>
              <a:gd name="connsiteY5" fmla="*/ 3183934 h 4264910"/>
              <a:gd name="connsiteX6" fmla="*/ 13747 w 5889610"/>
              <a:gd name="connsiteY6" fmla="*/ 3231180 h 4264910"/>
              <a:gd name="connsiteX7" fmla="*/ 18663 w 5889610"/>
              <a:gd name="connsiteY7" fmla="*/ 3278209 h 4264910"/>
              <a:gd name="connsiteX8" fmla="*/ 24314 w 5889610"/>
              <a:gd name="connsiteY8" fmla="*/ 3325015 h 4264910"/>
              <a:gd name="connsiteX9" fmla="*/ 30693 w 5889610"/>
              <a:gd name="connsiteY9" fmla="*/ 3371591 h 4264910"/>
              <a:gd name="connsiteX10" fmla="*/ 37794 w 5889610"/>
              <a:gd name="connsiteY10" fmla="*/ 3417933 h 4264910"/>
              <a:gd name="connsiteX11" fmla="*/ 45613 w 5889610"/>
              <a:gd name="connsiteY11" fmla="*/ 3464033 h 4264910"/>
              <a:gd name="connsiteX12" fmla="*/ 54141 w 5889610"/>
              <a:gd name="connsiteY12" fmla="*/ 3509887 h 4264910"/>
              <a:gd name="connsiteX13" fmla="*/ 63375 w 5889610"/>
              <a:gd name="connsiteY13" fmla="*/ 3555488 h 4264910"/>
              <a:gd name="connsiteX14" fmla="*/ 73308 w 5889610"/>
              <a:gd name="connsiteY14" fmla="*/ 3600831 h 4264910"/>
              <a:gd name="connsiteX15" fmla="*/ 83934 w 5889610"/>
              <a:gd name="connsiteY15" fmla="*/ 3645909 h 4264910"/>
              <a:gd name="connsiteX16" fmla="*/ 95247 w 5889610"/>
              <a:gd name="connsiteY16" fmla="*/ 3690717 h 4264910"/>
              <a:gd name="connsiteX17" fmla="*/ 107242 w 5889610"/>
              <a:gd name="connsiteY17" fmla="*/ 3735250 h 4264910"/>
              <a:gd name="connsiteX18" fmla="*/ 119912 w 5889610"/>
              <a:gd name="connsiteY18" fmla="*/ 3779500 h 4264910"/>
              <a:gd name="connsiteX19" fmla="*/ 133251 w 5889610"/>
              <a:gd name="connsiteY19" fmla="*/ 3823462 h 4264910"/>
              <a:gd name="connsiteX20" fmla="*/ 147254 w 5889610"/>
              <a:gd name="connsiteY20" fmla="*/ 3867130 h 4264910"/>
              <a:gd name="connsiteX21" fmla="*/ 161915 w 5889610"/>
              <a:gd name="connsiteY21" fmla="*/ 3910499 h 4264910"/>
              <a:gd name="connsiteX22" fmla="*/ 177228 w 5889610"/>
              <a:gd name="connsiteY22" fmla="*/ 3953563 h 4264910"/>
              <a:gd name="connsiteX23" fmla="*/ 193187 w 5889610"/>
              <a:gd name="connsiteY23" fmla="*/ 3996315 h 4264910"/>
              <a:gd name="connsiteX24" fmla="*/ 209786 w 5889610"/>
              <a:gd name="connsiteY24" fmla="*/ 4038750 h 4264910"/>
              <a:gd name="connsiteX25" fmla="*/ 227019 w 5889610"/>
              <a:gd name="connsiteY25" fmla="*/ 4080862 h 4264910"/>
              <a:gd name="connsiteX26" fmla="*/ 244881 w 5889610"/>
              <a:gd name="connsiteY26" fmla="*/ 4122645 h 4264910"/>
              <a:gd name="connsiteX27" fmla="*/ 263365 w 5889610"/>
              <a:gd name="connsiteY27" fmla="*/ 4164093 h 4264910"/>
              <a:gd name="connsiteX28" fmla="*/ 282465 w 5889610"/>
              <a:gd name="connsiteY28" fmla="*/ 4205201 h 4264910"/>
              <a:gd name="connsiteX29" fmla="*/ 302176 w 5889610"/>
              <a:gd name="connsiteY29" fmla="*/ 4245962 h 4264910"/>
              <a:gd name="connsiteX30" fmla="*/ 311703 w 5889610"/>
              <a:gd name="connsiteY30" fmla="*/ 4264910 h 4264910"/>
              <a:gd name="connsiteX0" fmla="*/ 5826208 w 5889610"/>
              <a:gd name="connsiteY0" fmla="*/ 3555488 h 4264910"/>
              <a:gd name="connsiteX1" fmla="*/ 5835445 w 5889610"/>
              <a:gd name="connsiteY1" fmla="*/ 3509887 h 4264910"/>
              <a:gd name="connsiteX2" fmla="*/ 5843978 w 5889610"/>
              <a:gd name="connsiteY2" fmla="*/ 3464033 h 4264910"/>
              <a:gd name="connsiteX3" fmla="*/ 5851799 w 5889610"/>
              <a:gd name="connsiteY3" fmla="*/ 3417933 h 4264910"/>
              <a:gd name="connsiteX4" fmla="*/ 5858904 w 5889610"/>
              <a:gd name="connsiteY4" fmla="*/ 3371591 h 4264910"/>
              <a:gd name="connsiteX5" fmla="*/ 5865285 w 5889610"/>
              <a:gd name="connsiteY5" fmla="*/ 3325015 h 4264910"/>
              <a:gd name="connsiteX6" fmla="*/ 5870938 w 5889610"/>
              <a:gd name="connsiteY6" fmla="*/ 3278209 h 4264910"/>
              <a:gd name="connsiteX7" fmla="*/ 5875857 w 5889610"/>
              <a:gd name="connsiteY7" fmla="*/ 3231180 h 4264910"/>
              <a:gd name="connsiteX8" fmla="*/ 5880035 w 5889610"/>
              <a:gd name="connsiteY8" fmla="*/ 3183934 h 4264910"/>
              <a:gd name="connsiteX9" fmla="*/ 5883466 w 5889610"/>
              <a:gd name="connsiteY9" fmla="*/ 3136476 h 4264910"/>
              <a:gd name="connsiteX10" fmla="*/ 5886146 w 5889610"/>
              <a:gd name="connsiteY10" fmla="*/ 3088813 h 4264910"/>
              <a:gd name="connsiteX11" fmla="*/ 5888067 w 5889610"/>
              <a:gd name="connsiteY11" fmla="*/ 3040949 h 4264910"/>
              <a:gd name="connsiteX12" fmla="*/ 5889223 w 5889610"/>
              <a:gd name="connsiteY12" fmla="*/ 2992892 h 4264910"/>
              <a:gd name="connsiteX13" fmla="*/ 5889610 w 5889610"/>
              <a:gd name="connsiteY13" fmla="*/ 2944647 h 4264910"/>
              <a:gd name="connsiteX14" fmla="*/ 5889223 w 5889610"/>
              <a:gd name="connsiteY14" fmla="*/ 2896411 h 4264910"/>
              <a:gd name="connsiteX15" fmla="*/ 5888067 w 5889610"/>
              <a:gd name="connsiteY15" fmla="*/ 2848362 h 4264910"/>
              <a:gd name="connsiteX16" fmla="*/ 5886146 w 5889610"/>
              <a:gd name="connsiteY16" fmla="*/ 2800508 h 4264910"/>
              <a:gd name="connsiteX17" fmla="*/ 5883466 w 5889610"/>
              <a:gd name="connsiteY17" fmla="*/ 2752853 h 4264910"/>
              <a:gd name="connsiteX18" fmla="*/ 5880035 w 5889610"/>
              <a:gd name="connsiteY18" fmla="*/ 2705404 h 4264910"/>
              <a:gd name="connsiteX19" fmla="*/ 5875857 w 5889610"/>
              <a:gd name="connsiteY19" fmla="*/ 2658166 h 4264910"/>
              <a:gd name="connsiteX20" fmla="*/ 5870938 w 5889610"/>
              <a:gd name="connsiteY20" fmla="*/ 2611145 h 4264910"/>
              <a:gd name="connsiteX21" fmla="*/ 5865285 w 5889610"/>
              <a:gd name="connsiteY21" fmla="*/ 2564347 h 4264910"/>
              <a:gd name="connsiteX22" fmla="*/ 5858904 w 5889610"/>
              <a:gd name="connsiteY22" fmla="*/ 2517779 h 4264910"/>
              <a:gd name="connsiteX23" fmla="*/ 5851799 w 5889610"/>
              <a:gd name="connsiteY23" fmla="*/ 2471445 h 4264910"/>
              <a:gd name="connsiteX24" fmla="*/ 5843978 w 5889610"/>
              <a:gd name="connsiteY24" fmla="*/ 2425352 h 4264910"/>
              <a:gd name="connsiteX25" fmla="*/ 5835445 w 5889610"/>
              <a:gd name="connsiteY25" fmla="*/ 2379505 h 4264910"/>
              <a:gd name="connsiteX26" fmla="*/ 5826208 w 5889610"/>
              <a:gd name="connsiteY26" fmla="*/ 2333911 h 4264910"/>
              <a:gd name="connsiteX27" fmla="*/ 5816271 w 5889610"/>
              <a:gd name="connsiteY27" fmla="*/ 2288575 h 4264910"/>
              <a:gd name="connsiteX28" fmla="*/ 5805641 w 5889610"/>
              <a:gd name="connsiteY28" fmla="*/ 2243504 h 4264910"/>
              <a:gd name="connsiteX29" fmla="*/ 5794323 w 5889610"/>
              <a:gd name="connsiteY29" fmla="*/ 2198702 h 4264910"/>
              <a:gd name="connsiteX30" fmla="*/ 5782324 w 5889610"/>
              <a:gd name="connsiteY30" fmla="*/ 2154177 h 4264910"/>
              <a:gd name="connsiteX31" fmla="*/ 5769649 w 5889610"/>
              <a:gd name="connsiteY31" fmla="*/ 2109933 h 4264910"/>
              <a:gd name="connsiteX32" fmla="*/ 5756304 w 5889610"/>
              <a:gd name="connsiteY32" fmla="*/ 2065977 h 4264910"/>
              <a:gd name="connsiteX33" fmla="*/ 5742296 w 5889610"/>
              <a:gd name="connsiteY33" fmla="*/ 2022315 h 4264910"/>
              <a:gd name="connsiteX34" fmla="*/ 5727629 w 5889610"/>
              <a:gd name="connsiteY34" fmla="*/ 1978952 h 4264910"/>
              <a:gd name="connsiteX35" fmla="*/ 5712311 w 5889610"/>
              <a:gd name="connsiteY35" fmla="*/ 1935894 h 4264910"/>
              <a:gd name="connsiteX36" fmla="*/ 5696346 w 5889610"/>
              <a:gd name="connsiteY36" fmla="*/ 1893147 h 4264910"/>
              <a:gd name="connsiteX37" fmla="*/ 5679741 w 5889610"/>
              <a:gd name="connsiteY37" fmla="*/ 1850718 h 4264910"/>
              <a:gd name="connsiteX38" fmla="*/ 5662502 w 5889610"/>
              <a:gd name="connsiteY38" fmla="*/ 1808611 h 4264910"/>
              <a:gd name="connsiteX39" fmla="*/ 5644634 w 5889610"/>
              <a:gd name="connsiteY39" fmla="*/ 1766833 h 4264910"/>
              <a:gd name="connsiteX40" fmla="*/ 5626144 w 5889610"/>
              <a:gd name="connsiteY40" fmla="*/ 1725390 h 4264910"/>
              <a:gd name="connsiteX41" fmla="*/ 5607037 w 5889610"/>
              <a:gd name="connsiteY41" fmla="*/ 1684288 h 4264910"/>
              <a:gd name="connsiteX42" fmla="*/ 5587319 w 5889610"/>
              <a:gd name="connsiteY42" fmla="*/ 1643531 h 4264910"/>
              <a:gd name="connsiteX43" fmla="*/ 5566997 w 5889610"/>
              <a:gd name="connsiteY43" fmla="*/ 1603127 h 4264910"/>
              <a:gd name="connsiteX44" fmla="*/ 5546075 w 5889610"/>
              <a:gd name="connsiteY44" fmla="*/ 1563082 h 4264910"/>
              <a:gd name="connsiteX45" fmla="*/ 5524560 w 5889610"/>
              <a:gd name="connsiteY45" fmla="*/ 1523400 h 4264910"/>
              <a:gd name="connsiteX46" fmla="*/ 5502458 w 5889610"/>
              <a:gd name="connsiteY46" fmla="*/ 1484088 h 4264910"/>
              <a:gd name="connsiteX47" fmla="*/ 5479775 w 5889610"/>
              <a:gd name="connsiteY47" fmla="*/ 1445152 h 4264910"/>
              <a:gd name="connsiteX48" fmla="*/ 5456516 w 5889610"/>
              <a:gd name="connsiteY48" fmla="*/ 1406597 h 4264910"/>
              <a:gd name="connsiteX49" fmla="*/ 5432688 w 5889610"/>
              <a:gd name="connsiteY49" fmla="*/ 1368430 h 4264910"/>
              <a:gd name="connsiteX50" fmla="*/ 5408296 w 5889610"/>
              <a:gd name="connsiteY50" fmla="*/ 1330656 h 4264910"/>
              <a:gd name="connsiteX51" fmla="*/ 5383346 w 5889610"/>
              <a:gd name="connsiteY51" fmla="*/ 1293282 h 4264910"/>
              <a:gd name="connsiteX52" fmla="*/ 5357845 w 5889610"/>
              <a:gd name="connsiteY52" fmla="*/ 1256313 h 4264910"/>
              <a:gd name="connsiteX53" fmla="*/ 5331797 w 5889610"/>
              <a:gd name="connsiteY53" fmla="*/ 1219754 h 4264910"/>
              <a:gd name="connsiteX54" fmla="*/ 5305210 w 5889610"/>
              <a:gd name="connsiteY54" fmla="*/ 1183613 h 4264910"/>
              <a:gd name="connsiteX55" fmla="*/ 5278088 w 5889610"/>
              <a:gd name="connsiteY55" fmla="*/ 1147894 h 4264910"/>
              <a:gd name="connsiteX56" fmla="*/ 5250438 w 5889610"/>
              <a:gd name="connsiteY56" fmla="*/ 1112604 h 4264910"/>
              <a:gd name="connsiteX57" fmla="*/ 5222266 w 5889610"/>
              <a:gd name="connsiteY57" fmla="*/ 1077748 h 4264910"/>
              <a:gd name="connsiteX58" fmla="*/ 5193577 w 5889610"/>
              <a:gd name="connsiteY58" fmla="*/ 1043332 h 4264910"/>
              <a:gd name="connsiteX59" fmla="*/ 5164378 w 5889610"/>
              <a:gd name="connsiteY59" fmla="*/ 1009363 h 4264910"/>
              <a:gd name="connsiteX60" fmla="*/ 5134674 w 5889610"/>
              <a:gd name="connsiteY60" fmla="*/ 975846 h 4264910"/>
              <a:gd name="connsiteX61" fmla="*/ 5104471 w 5889610"/>
              <a:gd name="connsiteY61" fmla="*/ 942787 h 4264910"/>
              <a:gd name="connsiteX62" fmla="*/ 5073776 w 5889610"/>
              <a:gd name="connsiteY62" fmla="*/ 910192 h 4264910"/>
              <a:gd name="connsiteX63" fmla="*/ 5042593 w 5889610"/>
              <a:gd name="connsiteY63" fmla="*/ 878066 h 4264910"/>
              <a:gd name="connsiteX64" fmla="*/ 5010930 w 5889610"/>
              <a:gd name="connsiteY64" fmla="*/ 846416 h 4264910"/>
              <a:gd name="connsiteX65" fmla="*/ 4978791 w 5889610"/>
              <a:gd name="connsiteY65" fmla="*/ 815247 h 4264910"/>
              <a:gd name="connsiteX66" fmla="*/ 4946183 w 5889610"/>
              <a:gd name="connsiteY66" fmla="*/ 784566 h 4264910"/>
              <a:gd name="connsiteX67" fmla="*/ 4913111 w 5889610"/>
              <a:gd name="connsiteY67" fmla="*/ 754377 h 4264910"/>
              <a:gd name="connsiteX68" fmla="*/ 4879582 w 5889610"/>
              <a:gd name="connsiteY68" fmla="*/ 724688 h 4264910"/>
              <a:gd name="connsiteX69" fmla="*/ 4845602 w 5889610"/>
              <a:gd name="connsiteY69" fmla="*/ 695504 h 4264910"/>
              <a:gd name="connsiteX70" fmla="*/ 4811176 w 5889610"/>
              <a:gd name="connsiteY70" fmla="*/ 666831 h 4264910"/>
              <a:gd name="connsiteX71" fmla="*/ 4776309 w 5889610"/>
              <a:gd name="connsiteY71" fmla="*/ 638674 h 4264910"/>
              <a:gd name="connsiteX72" fmla="*/ 4741009 w 5889610"/>
              <a:gd name="connsiteY72" fmla="*/ 611040 h 4264910"/>
              <a:gd name="connsiteX73" fmla="*/ 4705281 w 5889610"/>
              <a:gd name="connsiteY73" fmla="*/ 583934 h 4264910"/>
              <a:gd name="connsiteX74" fmla="*/ 4669131 w 5889610"/>
              <a:gd name="connsiteY74" fmla="*/ 557362 h 4264910"/>
              <a:gd name="connsiteX75" fmla="*/ 4632565 w 5889610"/>
              <a:gd name="connsiteY75" fmla="*/ 531331 h 4264910"/>
              <a:gd name="connsiteX76" fmla="*/ 4595588 w 5889610"/>
              <a:gd name="connsiteY76" fmla="*/ 505845 h 4264910"/>
              <a:gd name="connsiteX77" fmla="*/ 4558207 w 5889610"/>
              <a:gd name="connsiteY77" fmla="*/ 480912 h 4264910"/>
              <a:gd name="connsiteX78" fmla="*/ 4520427 w 5889610"/>
              <a:gd name="connsiteY78" fmla="*/ 456536 h 4264910"/>
              <a:gd name="connsiteX79" fmla="*/ 4482255 w 5889610"/>
              <a:gd name="connsiteY79" fmla="*/ 432724 h 4264910"/>
              <a:gd name="connsiteX80" fmla="*/ 4443696 w 5889610"/>
              <a:gd name="connsiteY80" fmla="*/ 409481 h 4264910"/>
              <a:gd name="connsiteX81" fmla="*/ 4404756 w 5889610"/>
              <a:gd name="connsiteY81" fmla="*/ 386814 h 4264910"/>
              <a:gd name="connsiteX82" fmla="*/ 4365441 w 5889610"/>
              <a:gd name="connsiteY82" fmla="*/ 364727 h 4264910"/>
              <a:gd name="connsiteX83" fmla="*/ 4325757 w 5889610"/>
              <a:gd name="connsiteY83" fmla="*/ 343228 h 4264910"/>
              <a:gd name="connsiteX84" fmla="*/ 4285710 w 5889610"/>
              <a:gd name="connsiteY84" fmla="*/ 322322 h 4264910"/>
              <a:gd name="connsiteX85" fmla="*/ 4245306 w 5889610"/>
              <a:gd name="connsiteY85" fmla="*/ 302015 h 4264910"/>
              <a:gd name="connsiteX86" fmla="*/ 4204550 w 5889610"/>
              <a:gd name="connsiteY86" fmla="*/ 282313 h 4264910"/>
              <a:gd name="connsiteX87" fmla="*/ 4163449 w 5889610"/>
              <a:gd name="connsiteY87" fmla="*/ 263221 h 4264910"/>
              <a:gd name="connsiteX88" fmla="*/ 4122008 w 5889610"/>
              <a:gd name="connsiteY88" fmla="*/ 244746 h 4264910"/>
              <a:gd name="connsiteX89" fmla="*/ 4080233 w 5889610"/>
              <a:gd name="connsiteY89" fmla="*/ 226893 h 4264910"/>
              <a:gd name="connsiteX90" fmla="*/ 4038131 w 5889610"/>
              <a:gd name="connsiteY90" fmla="*/ 209668 h 4264910"/>
              <a:gd name="connsiteX91" fmla="*/ 3995707 w 5889610"/>
              <a:gd name="connsiteY91" fmla="*/ 193077 h 4264910"/>
              <a:gd name="connsiteX92" fmla="*/ 3952967 w 5889610"/>
              <a:gd name="connsiteY92" fmla="*/ 177126 h 4264910"/>
              <a:gd name="connsiteX93" fmla="*/ 3909916 w 5889610"/>
              <a:gd name="connsiteY93" fmla="*/ 161821 h 4264910"/>
              <a:gd name="connsiteX94" fmla="*/ 3866562 w 5889610"/>
              <a:gd name="connsiteY94" fmla="*/ 147168 h 4264910"/>
              <a:gd name="connsiteX95" fmla="*/ 3822909 w 5889610"/>
              <a:gd name="connsiteY95" fmla="*/ 133172 h 4264910"/>
              <a:gd name="connsiteX96" fmla="*/ 3778964 w 5889610"/>
              <a:gd name="connsiteY96" fmla="*/ 119840 h 4264910"/>
              <a:gd name="connsiteX97" fmla="*/ 3734732 w 5889610"/>
              <a:gd name="connsiteY97" fmla="*/ 107177 h 4264910"/>
              <a:gd name="connsiteX98" fmla="*/ 3690220 w 5889610"/>
              <a:gd name="connsiteY98" fmla="*/ 95189 h 4264910"/>
              <a:gd name="connsiteX99" fmla="*/ 3645433 w 5889610"/>
              <a:gd name="connsiteY99" fmla="*/ 83883 h 4264910"/>
              <a:gd name="connsiteX100" fmla="*/ 3600377 w 5889610"/>
              <a:gd name="connsiteY100" fmla="*/ 73263 h 4264910"/>
              <a:gd name="connsiteX101" fmla="*/ 3555058 w 5889610"/>
              <a:gd name="connsiteY101" fmla="*/ 63336 h 4264910"/>
              <a:gd name="connsiteX102" fmla="*/ 3509482 w 5889610"/>
              <a:gd name="connsiteY102" fmla="*/ 54107 h 4264910"/>
              <a:gd name="connsiteX103" fmla="*/ 3463655 w 5889610"/>
              <a:gd name="connsiteY103" fmla="*/ 45584 h 4264910"/>
              <a:gd name="connsiteX104" fmla="*/ 3417583 w 5889610"/>
              <a:gd name="connsiteY104" fmla="*/ 37770 h 4264910"/>
              <a:gd name="connsiteX105" fmla="*/ 3371271 w 5889610"/>
              <a:gd name="connsiteY105" fmla="*/ 30673 h 4264910"/>
              <a:gd name="connsiteX106" fmla="*/ 3324726 w 5889610"/>
              <a:gd name="connsiteY106" fmla="*/ 24298 h 4264910"/>
              <a:gd name="connsiteX107" fmla="*/ 3277953 w 5889610"/>
              <a:gd name="connsiteY107" fmla="*/ 18651 h 4264910"/>
              <a:gd name="connsiteX108" fmla="*/ 3230959 w 5889610"/>
              <a:gd name="connsiteY108" fmla="*/ 13738 h 4264910"/>
              <a:gd name="connsiteX109" fmla="*/ 3183749 w 5889610"/>
              <a:gd name="connsiteY109" fmla="*/ 9564 h 4264910"/>
              <a:gd name="connsiteX110" fmla="*/ 3136329 w 5889610"/>
              <a:gd name="connsiteY110" fmla="*/ 6137 h 4264910"/>
              <a:gd name="connsiteX111" fmla="*/ 3088705 w 5889610"/>
              <a:gd name="connsiteY111" fmla="*/ 3461 h 4264910"/>
              <a:gd name="connsiteX112" fmla="*/ 3040883 w 5889610"/>
              <a:gd name="connsiteY112" fmla="*/ 1542 h 4264910"/>
              <a:gd name="connsiteX113" fmla="*/ 2992869 w 5889610"/>
              <a:gd name="connsiteY113" fmla="*/ 386 h 4264910"/>
              <a:gd name="connsiteX114" fmla="*/ 2944668 w 5889610"/>
              <a:gd name="connsiteY114" fmla="*/ 0 h 4264910"/>
              <a:gd name="connsiteX115" fmla="*/ 2896458 w 5889610"/>
              <a:gd name="connsiteY115" fmla="*/ 386 h 4264910"/>
              <a:gd name="connsiteX116" fmla="*/ 2848435 w 5889610"/>
              <a:gd name="connsiteY116" fmla="*/ 1542 h 4264910"/>
              <a:gd name="connsiteX117" fmla="*/ 2800604 w 5889610"/>
              <a:gd name="connsiteY117" fmla="*/ 3461 h 4264910"/>
              <a:gd name="connsiteX118" fmla="*/ 2752972 w 5889610"/>
              <a:gd name="connsiteY118" fmla="*/ 6137 h 4264910"/>
              <a:gd name="connsiteX119" fmla="*/ 2705544 w 5889610"/>
              <a:gd name="connsiteY119" fmla="*/ 9564 h 4264910"/>
              <a:gd name="connsiteX120" fmla="*/ 2658327 w 5889610"/>
              <a:gd name="connsiteY120" fmla="*/ 13738 h 4264910"/>
              <a:gd name="connsiteX121" fmla="*/ 2611326 w 5889610"/>
              <a:gd name="connsiteY121" fmla="*/ 18651 h 4264910"/>
              <a:gd name="connsiteX122" fmla="*/ 2564548 w 5889610"/>
              <a:gd name="connsiteY122" fmla="*/ 24298 h 4264910"/>
              <a:gd name="connsiteX123" fmla="*/ 2517997 w 5889610"/>
              <a:gd name="connsiteY123" fmla="*/ 30673 h 4264910"/>
              <a:gd name="connsiteX124" fmla="*/ 2471680 w 5889610"/>
              <a:gd name="connsiteY124" fmla="*/ 37770 h 4264910"/>
              <a:gd name="connsiteX125" fmla="*/ 2425603 w 5889610"/>
              <a:gd name="connsiteY125" fmla="*/ 45584 h 4264910"/>
              <a:gd name="connsiteX126" fmla="*/ 2379772 w 5889610"/>
              <a:gd name="connsiteY126" fmla="*/ 54107 h 4264910"/>
              <a:gd name="connsiteX127" fmla="*/ 2334192 w 5889610"/>
              <a:gd name="connsiteY127" fmla="*/ 63336 h 4264910"/>
              <a:gd name="connsiteX128" fmla="*/ 2288870 w 5889610"/>
              <a:gd name="connsiteY128" fmla="*/ 73263 h 4264910"/>
              <a:gd name="connsiteX129" fmla="*/ 2243811 w 5889610"/>
              <a:gd name="connsiteY129" fmla="*/ 83883 h 4264910"/>
              <a:gd name="connsiteX130" fmla="*/ 2199022 w 5889610"/>
              <a:gd name="connsiteY130" fmla="*/ 95189 h 4264910"/>
              <a:gd name="connsiteX131" fmla="*/ 2154507 w 5889610"/>
              <a:gd name="connsiteY131" fmla="*/ 107177 h 4264910"/>
              <a:gd name="connsiteX132" fmla="*/ 2110274 w 5889610"/>
              <a:gd name="connsiteY132" fmla="*/ 119840 h 4264910"/>
              <a:gd name="connsiteX133" fmla="*/ 2066327 w 5889610"/>
              <a:gd name="connsiteY133" fmla="*/ 133172 h 4264910"/>
              <a:gd name="connsiteX134" fmla="*/ 2022674 w 5889610"/>
              <a:gd name="connsiteY134" fmla="*/ 147168 h 4264910"/>
              <a:gd name="connsiteX135" fmla="*/ 1979319 w 5889610"/>
              <a:gd name="connsiteY135" fmla="*/ 161821 h 4264910"/>
              <a:gd name="connsiteX136" fmla="*/ 1936268 w 5889610"/>
              <a:gd name="connsiteY136" fmla="*/ 177126 h 4264910"/>
              <a:gd name="connsiteX137" fmla="*/ 1893528 w 5889610"/>
              <a:gd name="connsiteY137" fmla="*/ 193077 h 4264910"/>
              <a:gd name="connsiteX138" fmla="*/ 1851105 w 5889610"/>
              <a:gd name="connsiteY138" fmla="*/ 209668 h 4264910"/>
              <a:gd name="connsiteX139" fmla="*/ 1809003 w 5889610"/>
              <a:gd name="connsiteY139" fmla="*/ 226893 h 4264910"/>
              <a:gd name="connsiteX140" fmla="*/ 1767230 w 5889610"/>
              <a:gd name="connsiteY140" fmla="*/ 244746 h 4264910"/>
              <a:gd name="connsiteX141" fmla="*/ 1725791 w 5889610"/>
              <a:gd name="connsiteY141" fmla="*/ 263221 h 4264910"/>
              <a:gd name="connsiteX142" fmla="*/ 1684691 w 5889610"/>
              <a:gd name="connsiteY142" fmla="*/ 282313 h 4264910"/>
              <a:gd name="connsiteX143" fmla="*/ 1643938 w 5889610"/>
              <a:gd name="connsiteY143" fmla="*/ 302015 h 4264910"/>
              <a:gd name="connsiteX144" fmla="*/ 1603536 w 5889610"/>
              <a:gd name="connsiteY144" fmla="*/ 322322 h 4264910"/>
              <a:gd name="connsiteX145" fmla="*/ 1563492 w 5889610"/>
              <a:gd name="connsiteY145" fmla="*/ 343228 h 4264910"/>
              <a:gd name="connsiteX146" fmla="*/ 1523811 w 5889610"/>
              <a:gd name="connsiteY146" fmla="*/ 364727 h 4264910"/>
              <a:gd name="connsiteX147" fmla="*/ 1484499 w 5889610"/>
              <a:gd name="connsiteY147" fmla="*/ 386814 h 4264910"/>
              <a:gd name="connsiteX148" fmla="*/ 1445563 w 5889610"/>
              <a:gd name="connsiteY148" fmla="*/ 409481 h 4264910"/>
              <a:gd name="connsiteX149" fmla="*/ 1407007 w 5889610"/>
              <a:gd name="connsiteY149" fmla="*/ 432724 h 4264910"/>
              <a:gd name="connsiteX150" fmla="*/ 1368839 w 5889610"/>
              <a:gd name="connsiteY150" fmla="*/ 456536 h 4264910"/>
              <a:gd name="connsiteX151" fmla="*/ 1331064 w 5889610"/>
              <a:gd name="connsiteY151" fmla="*/ 480912 h 4264910"/>
              <a:gd name="connsiteX152" fmla="*/ 1293687 w 5889610"/>
              <a:gd name="connsiteY152" fmla="*/ 505845 h 4264910"/>
              <a:gd name="connsiteX153" fmla="*/ 1256715 w 5889610"/>
              <a:gd name="connsiteY153" fmla="*/ 531331 h 4264910"/>
              <a:gd name="connsiteX154" fmla="*/ 1220154 w 5889610"/>
              <a:gd name="connsiteY154" fmla="*/ 557362 h 4264910"/>
              <a:gd name="connsiteX155" fmla="*/ 1184009 w 5889610"/>
              <a:gd name="connsiteY155" fmla="*/ 583934 h 4264910"/>
              <a:gd name="connsiteX156" fmla="*/ 1148286 w 5889610"/>
              <a:gd name="connsiteY156" fmla="*/ 611040 h 4264910"/>
              <a:gd name="connsiteX157" fmla="*/ 1112991 w 5889610"/>
              <a:gd name="connsiteY157" fmla="*/ 638674 h 4264910"/>
              <a:gd name="connsiteX158" fmla="*/ 1078131 w 5889610"/>
              <a:gd name="connsiteY158" fmla="*/ 666831 h 4264910"/>
              <a:gd name="connsiteX159" fmla="*/ 1043710 w 5889610"/>
              <a:gd name="connsiteY159" fmla="*/ 695504 h 4264910"/>
              <a:gd name="connsiteX160" fmla="*/ 1009736 w 5889610"/>
              <a:gd name="connsiteY160" fmla="*/ 724688 h 4264910"/>
              <a:gd name="connsiteX161" fmla="*/ 976213 w 5889610"/>
              <a:gd name="connsiteY161" fmla="*/ 754377 h 4264910"/>
              <a:gd name="connsiteX162" fmla="*/ 943148 w 5889610"/>
              <a:gd name="connsiteY162" fmla="*/ 784566 h 4264910"/>
              <a:gd name="connsiteX163" fmla="*/ 910546 w 5889610"/>
              <a:gd name="connsiteY163" fmla="*/ 815247 h 4264910"/>
              <a:gd name="connsiteX164" fmla="*/ 878413 w 5889610"/>
              <a:gd name="connsiteY164" fmla="*/ 846416 h 4264910"/>
              <a:gd name="connsiteX165" fmla="*/ 846756 w 5889610"/>
              <a:gd name="connsiteY165" fmla="*/ 878066 h 4264910"/>
              <a:gd name="connsiteX166" fmla="*/ 815581 w 5889610"/>
              <a:gd name="connsiteY166" fmla="*/ 910192 h 4264910"/>
              <a:gd name="connsiteX167" fmla="*/ 784892 w 5889610"/>
              <a:gd name="connsiteY167" fmla="*/ 942787 h 4264910"/>
              <a:gd name="connsiteX168" fmla="*/ 754696 w 5889610"/>
              <a:gd name="connsiteY168" fmla="*/ 975846 h 4264910"/>
              <a:gd name="connsiteX169" fmla="*/ 724999 w 5889610"/>
              <a:gd name="connsiteY169" fmla="*/ 1009363 h 4264910"/>
              <a:gd name="connsiteX170" fmla="*/ 695807 w 5889610"/>
              <a:gd name="connsiteY170" fmla="*/ 1043332 h 4264910"/>
              <a:gd name="connsiteX171" fmla="*/ 667125 w 5889610"/>
              <a:gd name="connsiteY171" fmla="*/ 1077748 h 4264910"/>
              <a:gd name="connsiteX172" fmla="*/ 638960 w 5889610"/>
              <a:gd name="connsiteY172" fmla="*/ 1112604 h 4264910"/>
              <a:gd name="connsiteX173" fmla="*/ 611317 w 5889610"/>
              <a:gd name="connsiteY173" fmla="*/ 1147894 h 4264910"/>
              <a:gd name="connsiteX174" fmla="*/ 584202 w 5889610"/>
              <a:gd name="connsiteY174" fmla="*/ 1183613 h 4264910"/>
              <a:gd name="connsiteX175" fmla="*/ 557622 w 5889610"/>
              <a:gd name="connsiteY175" fmla="*/ 1219754 h 4264910"/>
              <a:gd name="connsiteX176" fmla="*/ 531582 w 5889610"/>
              <a:gd name="connsiteY176" fmla="*/ 1256313 h 4264910"/>
              <a:gd name="connsiteX177" fmla="*/ 506087 w 5889610"/>
              <a:gd name="connsiteY177" fmla="*/ 1293282 h 4264910"/>
              <a:gd name="connsiteX178" fmla="*/ 481145 w 5889610"/>
              <a:gd name="connsiteY178" fmla="*/ 1330656 h 4264910"/>
              <a:gd name="connsiteX179" fmla="*/ 456760 w 5889610"/>
              <a:gd name="connsiteY179" fmla="*/ 1368430 h 4264910"/>
              <a:gd name="connsiteX180" fmla="*/ 432939 w 5889610"/>
              <a:gd name="connsiteY180" fmla="*/ 1406597 h 4264910"/>
              <a:gd name="connsiteX181" fmla="*/ 409687 w 5889610"/>
              <a:gd name="connsiteY181" fmla="*/ 1445152 h 4264910"/>
              <a:gd name="connsiteX182" fmla="*/ 387011 w 5889610"/>
              <a:gd name="connsiteY182" fmla="*/ 1484088 h 4264910"/>
              <a:gd name="connsiteX183" fmla="*/ 364915 w 5889610"/>
              <a:gd name="connsiteY183" fmla="*/ 1523400 h 4264910"/>
              <a:gd name="connsiteX184" fmla="*/ 343407 w 5889610"/>
              <a:gd name="connsiteY184" fmla="*/ 1563082 h 4264910"/>
              <a:gd name="connsiteX185" fmla="*/ 322492 w 5889610"/>
              <a:gd name="connsiteY185" fmla="*/ 1603127 h 4264910"/>
              <a:gd name="connsiteX186" fmla="*/ 302176 w 5889610"/>
              <a:gd name="connsiteY186" fmla="*/ 1643531 h 4264910"/>
              <a:gd name="connsiteX187" fmla="*/ 282465 w 5889610"/>
              <a:gd name="connsiteY187" fmla="*/ 1684288 h 4264910"/>
              <a:gd name="connsiteX188" fmla="*/ 263365 w 5889610"/>
              <a:gd name="connsiteY188" fmla="*/ 1725390 h 4264910"/>
              <a:gd name="connsiteX189" fmla="*/ 244881 w 5889610"/>
              <a:gd name="connsiteY189" fmla="*/ 1766833 h 4264910"/>
              <a:gd name="connsiteX190" fmla="*/ 227019 w 5889610"/>
              <a:gd name="connsiteY190" fmla="*/ 1808611 h 4264910"/>
              <a:gd name="connsiteX191" fmla="*/ 209786 w 5889610"/>
              <a:gd name="connsiteY191" fmla="*/ 1850718 h 4264910"/>
              <a:gd name="connsiteX192" fmla="*/ 193187 w 5889610"/>
              <a:gd name="connsiteY192" fmla="*/ 1893147 h 4264910"/>
              <a:gd name="connsiteX193" fmla="*/ 177228 w 5889610"/>
              <a:gd name="connsiteY193" fmla="*/ 1935894 h 4264910"/>
              <a:gd name="connsiteX194" fmla="*/ 161915 w 5889610"/>
              <a:gd name="connsiteY194" fmla="*/ 1978952 h 4264910"/>
              <a:gd name="connsiteX195" fmla="*/ 147254 w 5889610"/>
              <a:gd name="connsiteY195" fmla="*/ 2022315 h 4264910"/>
              <a:gd name="connsiteX196" fmla="*/ 133251 w 5889610"/>
              <a:gd name="connsiteY196" fmla="*/ 2065977 h 4264910"/>
              <a:gd name="connsiteX197" fmla="*/ 119912 w 5889610"/>
              <a:gd name="connsiteY197" fmla="*/ 2109933 h 4264910"/>
              <a:gd name="connsiteX198" fmla="*/ 107242 w 5889610"/>
              <a:gd name="connsiteY198" fmla="*/ 2154177 h 4264910"/>
              <a:gd name="connsiteX199" fmla="*/ 95247 w 5889610"/>
              <a:gd name="connsiteY199" fmla="*/ 2198702 h 4264910"/>
              <a:gd name="connsiteX200" fmla="*/ 83934 w 5889610"/>
              <a:gd name="connsiteY200" fmla="*/ 2243504 h 4264910"/>
              <a:gd name="connsiteX201" fmla="*/ 73308 w 5889610"/>
              <a:gd name="connsiteY201" fmla="*/ 2288575 h 4264910"/>
              <a:gd name="connsiteX202" fmla="*/ 63375 w 5889610"/>
              <a:gd name="connsiteY202" fmla="*/ 2333911 h 4264910"/>
              <a:gd name="connsiteX203" fmla="*/ 54141 w 5889610"/>
              <a:gd name="connsiteY203" fmla="*/ 2379505 h 4264910"/>
              <a:gd name="connsiteX204" fmla="*/ 45613 w 5889610"/>
              <a:gd name="connsiteY204" fmla="*/ 2425352 h 4264910"/>
              <a:gd name="connsiteX205" fmla="*/ 37794 w 5889610"/>
              <a:gd name="connsiteY205" fmla="*/ 2471445 h 4264910"/>
              <a:gd name="connsiteX206" fmla="*/ 30693 w 5889610"/>
              <a:gd name="connsiteY206" fmla="*/ 2517779 h 4264910"/>
              <a:gd name="connsiteX207" fmla="*/ 24314 w 5889610"/>
              <a:gd name="connsiteY207" fmla="*/ 2564347 h 4264910"/>
              <a:gd name="connsiteX208" fmla="*/ 18663 w 5889610"/>
              <a:gd name="connsiteY208" fmla="*/ 2611145 h 4264910"/>
              <a:gd name="connsiteX209" fmla="*/ 13747 w 5889610"/>
              <a:gd name="connsiteY209" fmla="*/ 2658166 h 4264910"/>
              <a:gd name="connsiteX210" fmla="*/ 9571 w 5889610"/>
              <a:gd name="connsiteY210" fmla="*/ 2705404 h 4264910"/>
              <a:gd name="connsiteX211" fmla="*/ 6141 w 5889610"/>
              <a:gd name="connsiteY211" fmla="*/ 2752853 h 4264910"/>
              <a:gd name="connsiteX212" fmla="*/ 3463 w 5889610"/>
              <a:gd name="connsiteY212" fmla="*/ 2800508 h 4264910"/>
              <a:gd name="connsiteX213" fmla="*/ 1543 w 5889610"/>
              <a:gd name="connsiteY213" fmla="*/ 2848362 h 4264910"/>
              <a:gd name="connsiteX214" fmla="*/ 386 w 5889610"/>
              <a:gd name="connsiteY214" fmla="*/ 2896411 h 4264910"/>
              <a:gd name="connsiteX215" fmla="*/ 0 w 5889610"/>
              <a:gd name="connsiteY215" fmla="*/ 2944647 h 4264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5889610" h="4264910">
                <a:moveTo>
                  <a:pt x="0" y="2944647"/>
                </a:moveTo>
                <a:cubicBezTo>
                  <a:pt x="129" y="2960729"/>
                  <a:pt x="257" y="2976810"/>
                  <a:pt x="386" y="2992892"/>
                </a:cubicBezTo>
                <a:cubicBezTo>
                  <a:pt x="772" y="3008911"/>
                  <a:pt x="1157" y="3024930"/>
                  <a:pt x="1543" y="3040949"/>
                </a:cubicBezTo>
                <a:lnTo>
                  <a:pt x="3463" y="3088813"/>
                </a:lnTo>
                <a:lnTo>
                  <a:pt x="6141" y="3136476"/>
                </a:lnTo>
                <a:lnTo>
                  <a:pt x="9571" y="3183934"/>
                </a:lnTo>
                <a:lnTo>
                  <a:pt x="13747" y="3231180"/>
                </a:lnTo>
                <a:lnTo>
                  <a:pt x="18663" y="3278209"/>
                </a:lnTo>
                <a:lnTo>
                  <a:pt x="24314" y="3325015"/>
                </a:lnTo>
                <a:lnTo>
                  <a:pt x="30693" y="3371591"/>
                </a:lnTo>
                <a:lnTo>
                  <a:pt x="37794" y="3417933"/>
                </a:lnTo>
                <a:lnTo>
                  <a:pt x="45613" y="3464033"/>
                </a:lnTo>
                <a:lnTo>
                  <a:pt x="54141" y="3509887"/>
                </a:lnTo>
                <a:lnTo>
                  <a:pt x="63375" y="3555488"/>
                </a:lnTo>
                <a:lnTo>
                  <a:pt x="73308" y="3600831"/>
                </a:lnTo>
                <a:lnTo>
                  <a:pt x="83934" y="3645909"/>
                </a:lnTo>
                <a:lnTo>
                  <a:pt x="95247" y="3690717"/>
                </a:lnTo>
                <a:lnTo>
                  <a:pt x="107242" y="3735250"/>
                </a:lnTo>
                <a:lnTo>
                  <a:pt x="119912" y="3779500"/>
                </a:lnTo>
                <a:lnTo>
                  <a:pt x="133251" y="3823462"/>
                </a:lnTo>
                <a:lnTo>
                  <a:pt x="147254" y="3867130"/>
                </a:lnTo>
                <a:lnTo>
                  <a:pt x="161915" y="3910499"/>
                </a:lnTo>
                <a:lnTo>
                  <a:pt x="177228" y="3953563"/>
                </a:lnTo>
                <a:lnTo>
                  <a:pt x="193187" y="3996315"/>
                </a:lnTo>
                <a:lnTo>
                  <a:pt x="209786" y="4038750"/>
                </a:lnTo>
                <a:lnTo>
                  <a:pt x="227019" y="4080862"/>
                </a:lnTo>
                <a:lnTo>
                  <a:pt x="244881" y="4122645"/>
                </a:lnTo>
                <a:lnTo>
                  <a:pt x="263365" y="4164093"/>
                </a:lnTo>
                <a:lnTo>
                  <a:pt x="282465" y="4205201"/>
                </a:lnTo>
                <a:lnTo>
                  <a:pt x="302176" y="4245962"/>
                </a:lnTo>
                <a:lnTo>
                  <a:pt x="311703" y="4264910"/>
                </a:lnTo>
              </a:path>
              <a:path w="5889610" h="4264910">
                <a:moveTo>
                  <a:pt x="5826208" y="3555488"/>
                </a:moveTo>
                <a:lnTo>
                  <a:pt x="5835445" y="3509887"/>
                </a:lnTo>
                <a:lnTo>
                  <a:pt x="5843978" y="3464033"/>
                </a:lnTo>
                <a:lnTo>
                  <a:pt x="5851799" y="3417933"/>
                </a:lnTo>
                <a:lnTo>
                  <a:pt x="5858904" y="3371591"/>
                </a:lnTo>
                <a:lnTo>
                  <a:pt x="5865285" y="3325015"/>
                </a:lnTo>
                <a:lnTo>
                  <a:pt x="5870938" y="3278209"/>
                </a:lnTo>
                <a:lnTo>
                  <a:pt x="5875857" y="3231180"/>
                </a:lnTo>
                <a:lnTo>
                  <a:pt x="5880035" y="3183934"/>
                </a:lnTo>
                <a:lnTo>
                  <a:pt x="5883466" y="3136476"/>
                </a:lnTo>
                <a:lnTo>
                  <a:pt x="5886146" y="3088813"/>
                </a:lnTo>
                <a:cubicBezTo>
                  <a:pt x="5886786" y="3072858"/>
                  <a:pt x="5887427" y="3056904"/>
                  <a:pt x="5888067" y="3040949"/>
                </a:cubicBezTo>
                <a:cubicBezTo>
                  <a:pt x="5888452" y="3024930"/>
                  <a:pt x="5888838" y="3008911"/>
                  <a:pt x="5889223" y="2992892"/>
                </a:cubicBezTo>
                <a:lnTo>
                  <a:pt x="5889610" y="2944647"/>
                </a:lnTo>
                <a:lnTo>
                  <a:pt x="5889223" y="2896411"/>
                </a:lnTo>
                <a:cubicBezTo>
                  <a:pt x="5888838" y="2880395"/>
                  <a:pt x="5888452" y="2864378"/>
                  <a:pt x="5888067" y="2848362"/>
                </a:cubicBezTo>
                <a:cubicBezTo>
                  <a:pt x="5887427" y="2832411"/>
                  <a:pt x="5886786" y="2816459"/>
                  <a:pt x="5886146" y="2800508"/>
                </a:cubicBezTo>
                <a:lnTo>
                  <a:pt x="5883466" y="2752853"/>
                </a:lnTo>
                <a:lnTo>
                  <a:pt x="5880035" y="2705404"/>
                </a:lnTo>
                <a:lnTo>
                  <a:pt x="5875857" y="2658166"/>
                </a:lnTo>
                <a:lnTo>
                  <a:pt x="5870938" y="2611145"/>
                </a:lnTo>
                <a:lnTo>
                  <a:pt x="5865285" y="2564347"/>
                </a:lnTo>
                <a:lnTo>
                  <a:pt x="5858904" y="2517779"/>
                </a:lnTo>
                <a:lnTo>
                  <a:pt x="5851799" y="2471445"/>
                </a:lnTo>
                <a:lnTo>
                  <a:pt x="5843978" y="2425352"/>
                </a:lnTo>
                <a:lnTo>
                  <a:pt x="5835445" y="2379505"/>
                </a:lnTo>
                <a:lnTo>
                  <a:pt x="5826208" y="2333911"/>
                </a:lnTo>
                <a:lnTo>
                  <a:pt x="5816271" y="2288575"/>
                </a:lnTo>
                <a:lnTo>
                  <a:pt x="5805641" y="2243504"/>
                </a:lnTo>
                <a:lnTo>
                  <a:pt x="5794323" y="2198702"/>
                </a:lnTo>
                <a:lnTo>
                  <a:pt x="5782324" y="2154177"/>
                </a:lnTo>
                <a:lnTo>
                  <a:pt x="5769649" y="2109933"/>
                </a:lnTo>
                <a:lnTo>
                  <a:pt x="5756304" y="2065977"/>
                </a:lnTo>
                <a:lnTo>
                  <a:pt x="5742296" y="2022315"/>
                </a:lnTo>
                <a:lnTo>
                  <a:pt x="5727629" y="1978952"/>
                </a:lnTo>
                <a:lnTo>
                  <a:pt x="5712311" y="1935894"/>
                </a:lnTo>
                <a:lnTo>
                  <a:pt x="5696346" y="1893147"/>
                </a:lnTo>
                <a:lnTo>
                  <a:pt x="5679741" y="1850718"/>
                </a:lnTo>
                <a:lnTo>
                  <a:pt x="5662502" y="1808611"/>
                </a:lnTo>
                <a:lnTo>
                  <a:pt x="5644634" y="1766833"/>
                </a:lnTo>
                <a:lnTo>
                  <a:pt x="5626144" y="1725390"/>
                </a:lnTo>
                <a:lnTo>
                  <a:pt x="5607037" y="1684288"/>
                </a:lnTo>
                <a:lnTo>
                  <a:pt x="5587319" y="1643531"/>
                </a:lnTo>
                <a:lnTo>
                  <a:pt x="5566997" y="1603127"/>
                </a:lnTo>
                <a:lnTo>
                  <a:pt x="5546075" y="1563082"/>
                </a:lnTo>
                <a:lnTo>
                  <a:pt x="5524560" y="1523400"/>
                </a:lnTo>
                <a:lnTo>
                  <a:pt x="5502458" y="1484088"/>
                </a:lnTo>
                <a:lnTo>
                  <a:pt x="5479775" y="1445152"/>
                </a:lnTo>
                <a:lnTo>
                  <a:pt x="5456516" y="1406597"/>
                </a:lnTo>
                <a:lnTo>
                  <a:pt x="5432688" y="1368430"/>
                </a:lnTo>
                <a:lnTo>
                  <a:pt x="5408296" y="1330656"/>
                </a:lnTo>
                <a:lnTo>
                  <a:pt x="5383346" y="1293282"/>
                </a:lnTo>
                <a:lnTo>
                  <a:pt x="5357845" y="1256313"/>
                </a:lnTo>
                <a:lnTo>
                  <a:pt x="5331797" y="1219754"/>
                </a:lnTo>
                <a:lnTo>
                  <a:pt x="5305210" y="1183613"/>
                </a:lnTo>
                <a:lnTo>
                  <a:pt x="5278088" y="1147894"/>
                </a:lnTo>
                <a:lnTo>
                  <a:pt x="5250438" y="1112604"/>
                </a:lnTo>
                <a:lnTo>
                  <a:pt x="5222266" y="1077748"/>
                </a:lnTo>
                <a:lnTo>
                  <a:pt x="5193577" y="1043332"/>
                </a:lnTo>
                <a:lnTo>
                  <a:pt x="5164378" y="1009363"/>
                </a:lnTo>
                <a:lnTo>
                  <a:pt x="5134674" y="975846"/>
                </a:lnTo>
                <a:lnTo>
                  <a:pt x="5104471" y="942787"/>
                </a:lnTo>
                <a:lnTo>
                  <a:pt x="5073776" y="910192"/>
                </a:lnTo>
                <a:lnTo>
                  <a:pt x="5042593" y="878066"/>
                </a:lnTo>
                <a:lnTo>
                  <a:pt x="5010930" y="846416"/>
                </a:lnTo>
                <a:lnTo>
                  <a:pt x="4978791" y="815247"/>
                </a:lnTo>
                <a:lnTo>
                  <a:pt x="4946183" y="784566"/>
                </a:lnTo>
                <a:lnTo>
                  <a:pt x="4913111" y="754377"/>
                </a:lnTo>
                <a:lnTo>
                  <a:pt x="4879582" y="724688"/>
                </a:lnTo>
                <a:lnTo>
                  <a:pt x="4845602" y="695504"/>
                </a:lnTo>
                <a:lnTo>
                  <a:pt x="4811176" y="666831"/>
                </a:lnTo>
                <a:lnTo>
                  <a:pt x="4776309" y="638674"/>
                </a:lnTo>
                <a:lnTo>
                  <a:pt x="4741009" y="611040"/>
                </a:lnTo>
                <a:lnTo>
                  <a:pt x="4705281" y="583934"/>
                </a:lnTo>
                <a:lnTo>
                  <a:pt x="4669131" y="557362"/>
                </a:lnTo>
                <a:lnTo>
                  <a:pt x="4632565" y="531331"/>
                </a:lnTo>
                <a:lnTo>
                  <a:pt x="4595588" y="505845"/>
                </a:lnTo>
                <a:lnTo>
                  <a:pt x="4558207" y="480912"/>
                </a:lnTo>
                <a:lnTo>
                  <a:pt x="4520427" y="456536"/>
                </a:lnTo>
                <a:lnTo>
                  <a:pt x="4482255" y="432724"/>
                </a:lnTo>
                <a:lnTo>
                  <a:pt x="4443696" y="409481"/>
                </a:lnTo>
                <a:lnTo>
                  <a:pt x="4404756" y="386814"/>
                </a:lnTo>
                <a:lnTo>
                  <a:pt x="4365441" y="364727"/>
                </a:lnTo>
                <a:lnTo>
                  <a:pt x="4325757" y="343228"/>
                </a:lnTo>
                <a:lnTo>
                  <a:pt x="4285710" y="322322"/>
                </a:lnTo>
                <a:lnTo>
                  <a:pt x="4245306" y="302015"/>
                </a:lnTo>
                <a:lnTo>
                  <a:pt x="4204550" y="282313"/>
                </a:lnTo>
                <a:lnTo>
                  <a:pt x="4163449" y="263221"/>
                </a:lnTo>
                <a:lnTo>
                  <a:pt x="4122008" y="244746"/>
                </a:lnTo>
                <a:lnTo>
                  <a:pt x="4080233" y="226893"/>
                </a:lnTo>
                <a:lnTo>
                  <a:pt x="4038131" y="209668"/>
                </a:lnTo>
                <a:lnTo>
                  <a:pt x="3995707" y="193077"/>
                </a:lnTo>
                <a:lnTo>
                  <a:pt x="3952967" y="177126"/>
                </a:lnTo>
                <a:lnTo>
                  <a:pt x="3909916" y="161821"/>
                </a:lnTo>
                <a:lnTo>
                  <a:pt x="3866562" y="147168"/>
                </a:lnTo>
                <a:lnTo>
                  <a:pt x="3822909" y="133172"/>
                </a:lnTo>
                <a:lnTo>
                  <a:pt x="3778964" y="119840"/>
                </a:lnTo>
                <a:lnTo>
                  <a:pt x="3734732" y="107177"/>
                </a:lnTo>
                <a:lnTo>
                  <a:pt x="3690220" y="95189"/>
                </a:lnTo>
                <a:lnTo>
                  <a:pt x="3645433" y="83883"/>
                </a:lnTo>
                <a:lnTo>
                  <a:pt x="3600377" y="73263"/>
                </a:lnTo>
                <a:lnTo>
                  <a:pt x="3555058" y="63336"/>
                </a:lnTo>
                <a:lnTo>
                  <a:pt x="3509482" y="54107"/>
                </a:lnTo>
                <a:lnTo>
                  <a:pt x="3463655" y="45584"/>
                </a:lnTo>
                <a:lnTo>
                  <a:pt x="3417583" y="37770"/>
                </a:lnTo>
                <a:lnTo>
                  <a:pt x="3371271" y="30673"/>
                </a:lnTo>
                <a:lnTo>
                  <a:pt x="3324726" y="24298"/>
                </a:lnTo>
                <a:lnTo>
                  <a:pt x="3277953" y="18651"/>
                </a:lnTo>
                <a:lnTo>
                  <a:pt x="3230959" y="13738"/>
                </a:lnTo>
                <a:lnTo>
                  <a:pt x="3183749" y="9564"/>
                </a:lnTo>
                <a:lnTo>
                  <a:pt x="3136329" y="6137"/>
                </a:lnTo>
                <a:lnTo>
                  <a:pt x="3088705" y="3461"/>
                </a:lnTo>
                <a:lnTo>
                  <a:pt x="3040883" y="1542"/>
                </a:lnTo>
                <a:lnTo>
                  <a:pt x="2992869" y="386"/>
                </a:lnTo>
                <a:lnTo>
                  <a:pt x="2944668" y="0"/>
                </a:lnTo>
                <a:lnTo>
                  <a:pt x="2896458" y="386"/>
                </a:lnTo>
                <a:lnTo>
                  <a:pt x="2848435" y="1542"/>
                </a:lnTo>
                <a:lnTo>
                  <a:pt x="2800604" y="3461"/>
                </a:lnTo>
                <a:lnTo>
                  <a:pt x="2752972" y="6137"/>
                </a:lnTo>
                <a:lnTo>
                  <a:pt x="2705544" y="9564"/>
                </a:lnTo>
                <a:lnTo>
                  <a:pt x="2658327" y="13738"/>
                </a:lnTo>
                <a:lnTo>
                  <a:pt x="2611326" y="18651"/>
                </a:lnTo>
                <a:lnTo>
                  <a:pt x="2564548" y="24298"/>
                </a:lnTo>
                <a:lnTo>
                  <a:pt x="2517997" y="30673"/>
                </a:lnTo>
                <a:lnTo>
                  <a:pt x="2471680" y="37770"/>
                </a:lnTo>
                <a:lnTo>
                  <a:pt x="2425603" y="45584"/>
                </a:lnTo>
                <a:lnTo>
                  <a:pt x="2379772" y="54107"/>
                </a:lnTo>
                <a:lnTo>
                  <a:pt x="2334192" y="63336"/>
                </a:lnTo>
                <a:lnTo>
                  <a:pt x="2288870" y="73263"/>
                </a:lnTo>
                <a:lnTo>
                  <a:pt x="2243811" y="83883"/>
                </a:lnTo>
                <a:lnTo>
                  <a:pt x="2199022" y="95189"/>
                </a:lnTo>
                <a:lnTo>
                  <a:pt x="2154507" y="107177"/>
                </a:lnTo>
                <a:lnTo>
                  <a:pt x="2110274" y="119840"/>
                </a:lnTo>
                <a:lnTo>
                  <a:pt x="2066327" y="133172"/>
                </a:lnTo>
                <a:lnTo>
                  <a:pt x="2022674" y="147168"/>
                </a:lnTo>
                <a:lnTo>
                  <a:pt x="1979319" y="161821"/>
                </a:lnTo>
                <a:lnTo>
                  <a:pt x="1936268" y="177126"/>
                </a:lnTo>
                <a:lnTo>
                  <a:pt x="1893528" y="193077"/>
                </a:lnTo>
                <a:lnTo>
                  <a:pt x="1851105" y="209668"/>
                </a:lnTo>
                <a:lnTo>
                  <a:pt x="1809003" y="226893"/>
                </a:lnTo>
                <a:lnTo>
                  <a:pt x="1767230" y="244746"/>
                </a:lnTo>
                <a:lnTo>
                  <a:pt x="1725791" y="263221"/>
                </a:lnTo>
                <a:lnTo>
                  <a:pt x="1684691" y="282313"/>
                </a:lnTo>
                <a:lnTo>
                  <a:pt x="1643938" y="302015"/>
                </a:lnTo>
                <a:lnTo>
                  <a:pt x="1603536" y="322322"/>
                </a:lnTo>
                <a:lnTo>
                  <a:pt x="1563492" y="343228"/>
                </a:lnTo>
                <a:lnTo>
                  <a:pt x="1523811" y="364727"/>
                </a:lnTo>
                <a:lnTo>
                  <a:pt x="1484499" y="386814"/>
                </a:lnTo>
                <a:lnTo>
                  <a:pt x="1445563" y="409481"/>
                </a:lnTo>
                <a:lnTo>
                  <a:pt x="1407007" y="432724"/>
                </a:lnTo>
                <a:lnTo>
                  <a:pt x="1368839" y="456536"/>
                </a:lnTo>
                <a:lnTo>
                  <a:pt x="1331064" y="480912"/>
                </a:lnTo>
                <a:lnTo>
                  <a:pt x="1293687" y="505845"/>
                </a:lnTo>
                <a:lnTo>
                  <a:pt x="1256715" y="531331"/>
                </a:lnTo>
                <a:lnTo>
                  <a:pt x="1220154" y="557362"/>
                </a:lnTo>
                <a:lnTo>
                  <a:pt x="1184009" y="583934"/>
                </a:lnTo>
                <a:lnTo>
                  <a:pt x="1148286" y="611040"/>
                </a:lnTo>
                <a:lnTo>
                  <a:pt x="1112991" y="638674"/>
                </a:lnTo>
                <a:lnTo>
                  <a:pt x="1078131" y="666831"/>
                </a:lnTo>
                <a:lnTo>
                  <a:pt x="1043710" y="695504"/>
                </a:lnTo>
                <a:lnTo>
                  <a:pt x="1009736" y="724688"/>
                </a:lnTo>
                <a:lnTo>
                  <a:pt x="976213" y="754377"/>
                </a:lnTo>
                <a:lnTo>
                  <a:pt x="943148" y="784566"/>
                </a:lnTo>
                <a:lnTo>
                  <a:pt x="910546" y="815247"/>
                </a:lnTo>
                <a:lnTo>
                  <a:pt x="878413" y="846416"/>
                </a:lnTo>
                <a:lnTo>
                  <a:pt x="846756" y="878066"/>
                </a:lnTo>
                <a:lnTo>
                  <a:pt x="815581" y="910192"/>
                </a:lnTo>
                <a:lnTo>
                  <a:pt x="784892" y="942787"/>
                </a:lnTo>
                <a:lnTo>
                  <a:pt x="754696" y="975846"/>
                </a:lnTo>
                <a:lnTo>
                  <a:pt x="724999" y="1009363"/>
                </a:lnTo>
                <a:lnTo>
                  <a:pt x="695807" y="1043332"/>
                </a:lnTo>
                <a:lnTo>
                  <a:pt x="667125" y="1077748"/>
                </a:lnTo>
                <a:lnTo>
                  <a:pt x="638960" y="1112604"/>
                </a:lnTo>
                <a:lnTo>
                  <a:pt x="611317" y="1147894"/>
                </a:lnTo>
                <a:lnTo>
                  <a:pt x="584202" y="1183613"/>
                </a:lnTo>
                <a:lnTo>
                  <a:pt x="557622" y="1219754"/>
                </a:lnTo>
                <a:lnTo>
                  <a:pt x="531582" y="1256313"/>
                </a:lnTo>
                <a:lnTo>
                  <a:pt x="506087" y="1293282"/>
                </a:lnTo>
                <a:lnTo>
                  <a:pt x="481145" y="1330656"/>
                </a:lnTo>
                <a:lnTo>
                  <a:pt x="456760" y="1368430"/>
                </a:lnTo>
                <a:lnTo>
                  <a:pt x="432939" y="1406597"/>
                </a:lnTo>
                <a:lnTo>
                  <a:pt x="409687" y="1445152"/>
                </a:lnTo>
                <a:lnTo>
                  <a:pt x="387011" y="1484088"/>
                </a:lnTo>
                <a:lnTo>
                  <a:pt x="364915" y="1523400"/>
                </a:lnTo>
                <a:lnTo>
                  <a:pt x="343407" y="1563082"/>
                </a:lnTo>
                <a:lnTo>
                  <a:pt x="322492" y="1603127"/>
                </a:lnTo>
                <a:lnTo>
                  <a:pt x="302176" y="1643531"/>
                </a:lnTo>
                <a:lnTo>
                  <a:pt x="282465" y="1684288"/>
                </a:lnTo>
                <a:lnTo>
                  <a:pt x="263365" y="1725390"/>
                </a:lnTo>
                <a:lnTo>
                  <a:pt x="244881" y="1766833"/>
                </a:lnTo>
                <a:lnTo>
                  <a:pt x="227019" y="1808611"/>
                </a:lnTo>
                <a:lnTo>
                  <a:pt x="209786" y="1850718"/>
                </a:lnTo>
                <a:lnTo>
                  <a:pt x="193187" y="1893147"/>
                </a:lnTo>
                <a:lnTo>
                  <a:pt x="177228" y="1935894"/>
                </a:lnTo>
                <a:lnTo>
                  <a:pt x="161915" y="1978952"/>
                </a:lnTo>
                <a:lnTo>
                  <a:pt x="147254" y="2022315"/>
                </a:lnTo>
                <a:lnTo>
                  <a:pt x="133251" y="2065977"/>
                </a:lnTo>
                <a:lnTo>
                  <a:pt x="119912" y="2109933"/>
                </a:lnTo>
                <a:lnTo>
                  <a:pt x="107242" y="2154177"/>
                </a:lnTo>
                <a:lnTo>
                  <a:pt x="95247" y="2198702"/>
                </a:lnTo>
                <a:lnTo>
                  <a:pt x="83934" y="2243504"/>
                </a:lnTo>
                <a:lnTo>
                  <a:pt x="73308" y="2288575"/>
                </a:lnTo>
                <a:lnTo>
                  <a:pt x="63375" y="2333911"/>
                </a:lnTo>
                <a:lnTo>
                  <a:pt x="54141" y="2379505"/>
                </a:lnTo>
                <a:lnTo>
                  <a:pt x="45613" y="2425352"/>
                </a:lnTo>
                <a:lnTo>
                  <a:pt x="37794" y="2471445"/>
                </a:lnTo>
                <a:lnTo>
                  <a:pt x="30693" y="2517779"/>
                </a:lnTo>
                <a:lnTo>
                  <a:pt x="24314" y="2564347"/>
                </a:lnTo>
                <a:lnTo>
                  <a:pt x="18663" y="2611145"/>
                </a:lnTo>
                <a:lnTo>
                  <a:pt x="13747" y="2658166"/>
                </a:lnTo>
                <a:lnTo>
                  <a:pt x="9571" y="2705404"/>
                </a:lnTo>
                <a:lnTo>
                  <a:pt x="6141" y="2752853"/>
                </a:lnTo>
                <a:lnTo>
                  <a:pt x="3463" y="2800508"/>
                </a:lnTo>
                <a:lnTo>
                  <a:pt x="1543" y="2848362"/>
                </a:lnTo>
                <a:cubicBezTo>
                  <a:pt x="1157" y="2864378"/>
                  <a:pt x="772" y="2880395"/>
                  <a:pt x="386" y="2896411"/>
                </a:cubicBezTo>
                <a:cubicBezTo>
                  <a:pt x="257" y="2912490"/>
                  <a:pt x="129" y="2928568"/>
                  <a:pt x="0" y="2944647"/>
                </a:cubicBezTo>
              </a:path>
            </a:pathLst>
          </a:custGeom>
          <a:ln w="19050">
            <a:solidFill>
              <a:srgbClr val="E5ECE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857A"/>
              </a:solidFill>
              <a:effectLst/>
              <a:uLnTx/>
              <a:uFillTx/>
              <a:latin typeface="Lato"/>
              <a:ea typeface="+mn-ea"/>
              <a:cs typeface="+mn-cs"/>
            </a:endParaRPr>
          </a:p>
        </p:txBody>
      </p:sp>
      <p:sp>
        <p:nvSpPr>
          <p:cNvPr id="40" name="Oval 39">
            <a:extLst>
              <a:ext uri="{FF2B5EF4-FFF2-40B4-BE49-F238E27FC236}">
                <a16:creationId xmlns:a16="http://schemas.microsoft.com/office/drawing/2014/main" id="{388804B6-0EA7-4EE4-BB28-CD42A571CD16}"/>
              </a:ext>
            </a:extLst>
          </p:cNvPr>
          <p:cNvSpPr/>
          <p:nvPr/>
        </p:nvSpPr>
        <p:spPr>
          <a:xfrm>
            <a:off x="7541490" y="569774"/>
            <a:ext cx="225757" cy="22575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Lato"/>
              <a:ea typeface="+mn-ea"/>
              <a:cs typeface="+mn-cs"/>
            </a:endParaRPr>
          </a:p>
        </p:txBody>
      </p:sp>
      <p:sp>
        <p:nvSpPr>
          <p:cNvPr id="41" name="Google Shape;173;p28">
            <a:extLst>
              <a:ext uri="{FF2B5EF4-FFF2-40B4-BE49-F238E27FC236}">
                <a16:creationId xmlns:a16="http://schemas.microsoft.com/office/drawing/2014/main" id="{3F236B5B-5DEF-4E10-8BB6-950F5E341349}"/>
              </a:ext>
            </a:extLst>
          </p:cNvPr>
          <p:cNvSpPr/>
          <p:nvPr/>
        </p:nvSpPr>
        <p:spPr>
          <a:xfrm rot="3988739">
            <a:off x="10968038" y="3400358"/>
            <a:ext cx="167252" cy="167252"/>
          </a:xfrm>
          <a:prstGeom prst="ellipse">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3" name="Freeform 97">
            <a:extLst>
              <a:ext uri="{FF2B5EF4-FFF2-40B4-BE49-F238E27FC236}">
                <a16:creationId xmlns:a16="http://schemas.microsoft.com/office/drawing/2014/main" id="{FB39058C-1BE2-4E59-8894-C145B56AE482}"/>
              </a:ext>
            </a:extLst>
          </p:cNvPr>
          <p:cNvSpPr/>
          <p:nvPr/>
        </p:nvSpPr>
        <p:spPr>
          <a:xfrm rot="10800000">
            <a:off x="0" y="-13449"/>
            <a:ext cx="7216783" cy="1524002"/>
          </a:xfrm>
          <a:custGeom>
            <a:avLst/>
            <a:gdLst>
              <a:gd name="connsiteX0" fmla="*/ 7216783 w 7216783"/>
              <a:gd name="connsiteY0" fmla="*/ 1524002 h 1524002"/>
              <a:gd name="connsiteX1" fmla="*/ 0 w 7216783"/>
              <a:gd name="connsiteY1" fmla="*/ 1524002 h 1524002"/>
              <a:gd name="connsiteX2" fmla="*/ 0 w 7216783"/>
              <a:gd name="connsiteY2" fmla="*/ 146121 h 1524002"/>
              <a:gd name="connsiteX3" fmla="*/ 146121 w 7216783"/>
              <a:gd name="connsiteY3" fmla="*/ 0 h 1524002"/>
              <a:gd name="connsiteX4" fmla="*/ 7216783 w 7216783"/>
              <a:gd name="connsiteY4" fmla="*/ 0 h 1524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6783" h="1524002">
                <a:moveTo>
                  <a:pt x="7216783" y="1524002"/>
                </a:moveTo>
                <a:lnTo>
                  <a:pt x="0" y="1524002"/>
                </a:lnTo>
                <a:lnTo>
                  <a:pt x="0" y="146121"/>
                </a:lnTo>
                <a:cubicBezTo>
                  <a:pt x="0" y="65421"/>
                  <a:pt x="65421" y="0"/>
                  <a:pt x="146121" y="0"/>
                </a:cubicBezTo>
                <a:lnTo>
                  <a:pt x="7216783" y="0"/>
                </a:lnTo>
                <a:close/>
              </a:path>
            </a:pathLst>
          </a:custGeom>
          <a:solidFill>
            <a:schemeClr val="accent3"/>
          </a:solidFill>
        </p:spPr>
        <p:txBody>
          <a:bodyPr vert="horz" wrap="square" lIns="0" tIns="0" rIns="0" bIns="2103120" rtlCol="0" anchor="t" anchorCtr="0">
            <a:noAutofit/>
          </a:bodyPr>
          <a:lstStyle/>
          <a:p>
            <a:pPr marL="0" marR="0" lvl="0" indent="0" algn="ctr" defTabSz="914354" rtl="0" eaLnBrk="1" fontAlgn="auto" latinLnBrk="0" hangingPunct="1">
              <a:lnSpc>
                <a:spcPct val="100000"/>
              </a:lnSpc>
              <a:spcBef>
                <a:spcPts val="0"/>
              </a:spcBef>
              <a:spcAft>
                <a:spcPts val="80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45" name="Freeform 42">
            <a:extLst>
              <a:ext uri="{FF2B5EF4-FFF2-40B4-BE49-F238E27FC236}">
                <a16:creationId xmlns:a16="http://schemas.microsoft.com/office/drawing/2014/main" id="{3E83A34F-33DA-4099-9006-0DA38AC16688}"/>
              </a:ext>
            </a:extLst>
          </p:cNvPr>
          <p:cNvSpPr/>
          <p:nvPr/>
        </p:nvSpPr>
        <p:spPr>
          <a:xfrm flipH="1">
            <a:off x="-1453" y="1750402"/>
            <a:ext cx="7216209" cy="1496657"/>
          </a:xfrm>
          <a:custGeom>
            <a:avLst/>
            <a:gdLst>
              <a:gd name="connsiteX0" fmla="*/ 68882 w 6096000"/>
              <a:gd name="connsiteY0" fmla="*/ 0 h 1059072"/>
              <a:gd name="connsiteX1" fmla="*/ 6096000 w 6096000"/>
              <a:gd name="connsiteY1" fmla="*/ 0 h 1059072"/>
              <a:gd name="connsiteX2" fmla="*/ 6096000 w 6096000"/>
              <a:gd name="connsiteY2" fmla="*/ 1059072 h 1059072"/>
              <a:gd name="connsiteX3" fmla="*/ 68882 w 6096000"/>
              <a:gd name="connsiteY3" fmla="*/ 1059072 h 1059072"/>
              <a:gd name="connsiteX4" fmla="*/ 0 w 6096000"/>
              <a:gd name="connsiteY4" fmla="*/ 990190 h 1059072"/>
              <a:gd name="connsiteX5" fmla="*/ 0 w 6096000"/>
              <a:gd name="connsiteY5" fmla="*/ 68882 h 1059072"/>
              <a:gd name="connsiteX6" fmla="*/ 68882 w 6096000"/>
              <a:gd name="connsiteY6" fmla="*/ 0 h 1059072"/>
              <a:gd name="connsiteX0" fmla="*/ 118708 w 6096000"/>
              <a:gd name="connsiteY0" fmla="*/ 4827 h 1059072"/>
              <a:gd name="connsiteX1" fmla="*/ 6096000 w 6096000"/>
              <a:gd name="connsiteY1" fmla="*/ 0 h 1059072"/>
              <a:gd name="connsiteX2" fmla="*/ 6096000 w 6096000"/>
              <a:gd name="connsiteY2" fmla="*/ 1059072 h 1059072"/>
              <a:gd name="connsiteX3" fmla="*/ 68882 w 6096000"/>
              <a:gd name="connsiteY3" fmla="*/ 1059072 h 1059072"/>
              <a:gd name="connsiteX4" fmla="*/ 0 w 6096000"/>
              <a:gd name="connsiteY4" fmla="*/ 990190 h 1059072"/>
              <a:gd name="connsiteX5" fmla="*/ 0 w 6096000"/>
              <a:gd name="connsiteY5" fmla="*/ 68882 h 1059072"/>
              <a:gd name="connsiteX6" fmla="*/ 118708 w 6096000"/>
              <a:gd name="connsiteY6" fmla="*/ 4827 h 1059072"/>
              <a:gd name="connsiteX0" fmla="*/ 118708 w 6096000"/>
              <a:gd name="connsiteY0" fmla="*/ 4827 h 1059072"/>
              <a:gd name="connsiteX1" fmla="*/ 6096000 w 6096000"/>
              <a:gd name="connsiteY1" fmla="*/ 0 h 1059072"/>
              <a:gd name="connsiteX2" fmla="*/ 6096000 w 6096000"/>
              <a:gd name="connsiteY2" fmla="*/ 1059072 h 1059072"/>
              <a:gd name="connsiteX3" fmla="*/ 0 w 6096000"/>
              <a:gd name="connsiteY3" fmla="*/ 990190 h 1059072"/>
              <a:gd name="connsiteX4" fmla="*/ 0 w 6096000"/>
              <a:gd name="connsiteY4" fmla="*/ 68882 h 1059072"/>
              <a:gd name="connsiteX5" fmla="*/ 118708 w 6096000"/>
              <a:gd name="connsiteY5" fmla="*/ 4827 h 1059072"/>
              <a:gd name="connsiteX0" fmla="*/ 118708 w 6096000"/>
              <a:gd name="connsiteY0" fmla="*/ 4827 h 1060184"/>
              <a:gd name="connsiteX1" fmla="*/ 6096000 w 6096000"/>
              <a:gd name="connsiteY1" fmla="*/ 0 h 1060184"/>
              <a:gd name="connsiteX2" fmla="*/ 6096000 w 6096000"/>
              <a:gd name="connsiteY2" fmla="*/ 1059072 h 1060184"/>
              <a:gd name="connsiteX3" fmla="*/ 0 w 6096000"/>
              <a:gd name="connsiteY3" fmla="*/ 1060184 h 1060184"/>
              <a:gd name="connsiteX4" fmla="*/ 0 w 6096000"/>
              <a:gd name="connsiteY4" fmla="*/ 68882 h 1060184"/>
              <a:gd name="connsiteX5" fmla="*/ 118708 w 6096000"/>
              <a:gd name="connsiteY5" fmla="*/ 4827 h 106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1060184">
                <a:moveTo>
                  <a:pt x="118708" y="4827"/>
                </a:moveTo>
                <a:lnTo>
                  <a:pt x="6096000" y="0"/>
                </a:lnTo>
                <a:lnTo>
                  <a:pt x="6096000" y="1059072"/>
                </a:lnTo>
                <a:lnTo>
                  <a:pt x="0" y="1060184"/>
                </a:lnTo>
                <a:lnTo>
                  <a:pt x="0" y="68882"/>
                </a:lnTo>
                <a:cubicBezTo>
                  <a:pt x="0" y="30840"/>
                  <a:pt x="80666" y="4827"/>
                  <a:pt x="118708" y="4827"/>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57A"/>
              </a:solidFill>
              <a:effectLst/>
              <a:uLnTx/>
              <a:uFillTx/>
              <a:latin typeface="Lato" panose="020F0502020204030203" pitchFamily="34" charset="77"/>
              <a:ea typeface="+mn-ea"/>
              <a:cs typeface="+mn-cs"/>
            </a:endParaRPr>
          </a:p>
        </p:txBody>
      </p:sp>
      <p:sp>
        <p:nvSpPr>
          <p:cNvPr id="46" name="Rectangle 45">
            <a:extLst>
              <a:ext uri="{FF2B5EF4-FFF2-40B4-BE49-F238E27FC236}">
                <a16:creationId xmlns:a16="http://schemas.microsoft.com/office/drawing/2014/main" id="{B106DD81-70CA-475F-8B40-F7ACF9640BF5}"/>
              </a:ext>
            </a:extLst>
          </p:cNvPr>
          <p:cNvSpPr/>
          <p:nvPr/>
        </p:nvSpPr>
        <p:spPr>
          <a:xfrm>
            <a:off x="2529511" y="1914467"/>
            <a:ext cx="1786866" cy="6351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50" b="1" i="0" u="none" strike="noStrike" kern="1200" cap="none" spc="0" normalizeH="0" baseline="0" noProof="0" dirty="0">
                <a:ln>
                  <a:noFill/>
                </a:ln>
                <a:solidFill>
                  <a:srgbClr val="00857A"/>
                </a:solidFill>
                <a:effectLst/>
                <a:uLnTx/>
                <a:uFillTx/>
                <a:latin typeface="Lato"/>
                <a:ea typeface="Lato"/>
                <a:cs typeface="Lato"/>
              </a:rPr>
              <a:t>Workload has been reduced, staff can now focus on other aspects of the business</a:t>
            </a:r>
          </a:p>
        </p:txBody>
      </p:sp>
      <p:sp>
        <p:nvSpPr>
          <p:cNvPr id="48" name="Rectangle 47">
            <a:extLst>
              <a:ext uri="{FF2B5EF4-FFF2-40B4-BE49-F238E27FC236}">
                <a16:creationId xmlns:a16="http://schemas.microsoft.com/office/drawing/2014/main" id="{4159DB92-EDAB-42A8-95DB-5F01C6FCA32E}"/>
              </a:ext>
            </a:extLst>
          </p:cNvPr>
          <p:cNvSpPr/>
          <p:nvPr/>
        </p:nvSpPr>
        <p:spPr>
          <a:xfrm>
            <a:off x="121599" y="1898327"/>
            <a:ext cx="2138342" cy="6351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50" b="1" i="0" u="none" strike="noStrike" kern="1200" cap="none" spc="0" normalizeH="0" baseline="0" noProof="0" dirty="0">
                <a:ln>
                  <a:noFill/>
                </a:ln>
                <a:solidFill>
                  <a:srgbClr val="00857A"/>
                </a:solidFill>
                <a:effectLst/>
                <a:uLnTx/>
                <a:uFillTx/>
                <a:latin typeface="Lato"/>
                <a:ea typeface="Lato"/>
                <a:cs typeface="Lato"/>
              </a:rPr>
              <a:t>Letters reduced from 90-100% to 20-25% for doctors, ensuring safe and smooth running of the practice</a:t>
            </a:r>
          </a:p>
        </p:txBody>
      </p:sp>
      <p:sp>
        <p:nvSpPr>
          <p:cNvPr id="55" name="Rectangle 54">
            <a:extLst>
              <a:ext uri="{FF2B5EF4-FFF2-40B4-BE49-F238E27FC236}">
                <a16:creationId xmlns:a16="http://schemas.microsoft.com/office/drawing/2014/main" id="{9503548F-3E1F-4D25-B473-62310EE07B51}"/>
              </a:ext>
            </a:extLst>
          </p:cNvPr>
          <p:cNvSpPr/>
          <p:nvPr/>
        </p:nvSpPr>
        <p:spPr>
          <a:xfrm>
            <a:off x="4787033" y="1914467"/>
            <a:ext cx="2079030" cy="6351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150" b="1" dirty="0">
                <a:solidFill>
                  <a:srgbClr val="00857A"/>
                </a:solidFill>
                <a:latin typeface="Lato"/>
                <a:ea typeface="Lato"/>
                <a:cs typeface="Lato"/>
              </a:rPr>
              <a:t>Significantly reduced errors, letters are now being coded correctly and distributed quickly</a:t>
            </a:r>
            <a:endParaRPr kumimoji="0" lang="en-US" sz="1150" b="1" i="0" u="none" strike="noStrike" kern="1200" cap="none" spc="0" normalizeH="0" baseline="0" noProof="0" dirty="0">
              <a:ln>
                <a:noFill/>
              </a:ln>
              <a:solidFill>
                <a:srgbClr val="00857A"/>
              </a:solidFill>
              <a:effectLst/>
              <a:uLnTx/>
              <a:uFillTx/>
              <a:latin typeface="Lato"/>
              <a:ea typeface="Lato"/>
              <a:cs typeface="Lato"/>
            </a:endParaRPr>
          </a:p>
        </p:txBody>
      </p:sp>
      <p:sp>
        <p:nvSpPr>
          <p:cNvPr id="63" name="object 16">
            <a:extLst>
              <a:ext uri="{FF2B5EF4-FFF2-40B4-BE49-F238E27FC236}">
                <a16:creationId xmlns:a16="http://schemas.microsoft.com/office/drawing/2014/main" id="{AC2E0225-9B57-4F25-AB44-0D100FBAB5EC}"/>
              </a:ext>
            </a:extLst>
          </p:cNvPr>
          <p:cNvSpPr/>
          <p:nvPr/>
        </p:nvSpPr>
        <p:spPr>
          <a:xfrm>
            <a:off x="4519366" y="1999378"/>
            <a:ext cx="45719" cy="1055193"/>
          </a:xfrm>
          <a:custGeom>
            <a:avLst/>
            <a:gdLst/>
            <a:ahLst/>
            <a:cxnLst/>
            <a:rect l="l" t="t" r="r" b="b"/>
            <a:pathLst>
              <a:path w="45720" h="919479">
                <a:moveTo>
                  <a:pt x="45720" y="0"/>
                </a:moveTo>
                <a:lnTo>
                  <a:pt x="0" y="0"/>
                </a:lnTo>
                <a:lnTo>
                  <a:pt x="0" y="919124"/>
                </a:lnTo>
                <a:lnTo>
                  <a:pt x="45720" y="919124"/>
                </a:lnTo>
                <a:lnTo>
                  <a:pt x="45720" y="0"/>
                </a:lnTo>
                <a:close/>
              </a:path>
            </a:pathLst>
          </a:custGeom>
          <a:solidFill>
            <a:srgbClr val="FFBA3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857A"/>
              </a:solidFill>
              <a:effectLst/>
              <a:uLnTx/>
              <a:uFillTx/>
              <a:latin typeface="Lato"/>
              <a:ea typeface="+mn-ea"/>
              <a:cs typeface="+mn-cs"/>
            </a:endParaRPr>
          </a:p>
        </p:txBody>
      </p:sp>
      <p:sp>
        <p:nvSpPr>
          <p:cNvPr id="67" name="TextBox 66">
            <a:extLst>
              <a:ext uri="{FF2B5EF4-FFF2-40B4-BE49-F238E27FC236}">
                <a16:creationId xmlns:a16="http://schemas.microsoft.com/office/drawing/2014/main" id="{4321404F-830B-481E-B6C9-E43C5D749C8D}"/>
              </a:ext>
            </a:extLst>
          </p:cNvPr>
          <p:cNvSpPr txBox="1"/>
          <p:nvPr/>
        </p:nvSpPr>
        <p:spPr>
          <a:xfrm>
            <a:off x="304138" y="3720755"/>
            <a:ext cx="4551798" cy="2100575"/>
          </a:xfrm>
          <a:prstGeom prst="rect">
            <a:avLst/>
          </a:prstGeom>
          <a:noFill/>
        </p:spPr>
        <p:txBody>
          <a:bodyPr wrap="square">
            <a:spAutoFit/>
          </a:bodyPr>
          <a:lstStyle/>
          <a:p>
            <a:pPr marR="0" lvl="0" algn="ctr" defTabSz="914400" rtl="0" eaLnBrk="1" fontAlgn="auto" latinLnBrk="0" hangingPunct="1">
              <a:lnSpc>
                <a:spcPct val="100000"/>
              </a:lnSpc>
              <a:spcBef>
                <a:spcPts val="0"/>
              </a:spcBef>
              <a:spcAft>
                <a:spcPts val="600"/>
              </a:spcAft>
              <a:buClrTx/>
              <a:buSzTx/>
              <a:tabLst/>
              <a:defRPr/>
            </a:pPr>
            <a:r>
              <a:rPr lang="en-GB" sz="1450" b="1" i="1" dirty="0">
                <a:solidFill>
                  <a:srgbClr val="555555"/>
                </a:solidFill>
                <a:latin typeface="Lato" panose="020F0502020204030203" pitchFamily="34" charset="0"/>
              </a:rPr>
              <a:t>“</a:t>
            </a:r>
            <a:r>
              <a:rPr lang="en-GB" sz="1450" b="1" i="1" dirty="0">
                <a:solidFill>
                  <a:srgbClr val="555555"/>
                </a:solidFill>
                <a:effectLst/>
                <a:latin typeface="Lato" panose="020F0502020204030203" pitchFamily="34" charset="0"/>
              </a:rPr>
              <a:t>Thornfield’s </a:t>
            </a:r>
            <a:r>
              <a:rPr lang="en-GB" sz="1450" b="1" i="1" u="sng" dirty="0">
                <a:solidFill>
                  <a:srgbClr val="555555"/>
                </a:solidFill>
                <a:latin typeface="Lato" panose="020F0502020204030203" pitchFamily="34" charset="0"/>
                <a:hlinkClick r:id="rId6"/>
              </a:rPr>
              <a:t>Correspondence Management course</a:t>
            </a:r>
            <a:r>
              <a:rPr lang="en-GB" sz="1450" b="1" i="1" u="sng" dirty="0">
                <a:solidFill>
                  <a:srgbClr val="555555"/>
                </a:solidFill>
                <a:latin typeface="Lato" panose="020F0502020204030203" pitchFamily="34" charset="0"/>
              </a:rPr>
              <a:t> </a:t>
            </a:r>
            <a:r>
              <a:rPr lang="en-GB" sz="1450" b="1" i="1" dirty="0">
                <a:solidFill>
                  <a:srgbClr val="555555"/>
                </a:solidFill>
                <a:latin typeface="Lato" panose="020F0502020204030203" pitchFamily="34" charset="0"/>
              </a:rPr>
              <a:t>gave us</a:t>
            </a:r>
            <a:r>
              <a:rPr lang="en-GB" sz="1450" b="1" i="1" dirty="0">
                <a:solidFill>
                  <a:srgbClr val="555555"/>
                </a:solidFill>
                <a:effectLst/>
                <a:latin typeface="Lato" panose="020F0502020204030203" pitchFamily="34" charset="0"/>
              </a:rPr>
              <a:t> many benefits, which helped us become more efficient. The workflow team had the </a:t>
            </a:r>
            <a:r>
              <a:rPr lang="en-GB" sz="1450" b="1" i="1" dirty="0">
                <a:effectLst/>
                <a:latin typeface="Lato" panose="020F0502020204030203" pitchFamily="34" charset="0"/>
              </a:rPr>
              <a:t>support and training </a:t>
            </a:r>
            <a:r>
              <a:rPr lang="en-GB" sz="1450" b="1" i="1" dirty="0">
                <a:solidFill>
                  <a:srgbClr val="555555"/>
                </a:solidFill>
                <a:effectLst/>
                <a:latin typeface="Lato" panose="020F0502020204030203" pitchFamily="34" charset="0"/>
              </a:rPr>
              <a:t>to give us the </a:t>
            </a:r>
            <a:r>
              <a:rPr lang="en-GB" sz="1450" b="1" i="1" dirty="0">
                <a:effectLst/>
                <a:latin typeface="Lato" panose="020F0502020204030203" pitchFamily="34" charset="0"/>
              </a:rPr>
              <a:t>confidence</a:t>
            </a:r>
            <a:r>
              <a:rPr lang="en-GB" sz="1450" b="1" i="1" dirty="0">
                <a:solidFill>
                  <a:srgbClr val="555555"/>
                </a:solidFill>
                <a:effectLst/>
                <a:latin typeface="Lato" panose="020F0502020204030203" pitchFamily="34" charset="0"/>
              </a:rPr>
              <a:t> to deal with the letters that did not need to go to the doctors. Our trainer helped us recognise the different types of letters, which go to whom, and which we can deal with ourselves, while the trainer </a:t>
            </a:r>
            <a:r>
              <a:rPr lang="en-GB" sz="1450" b="1" i="1" dirty="0">
                <a:effectLst/>
                <a:latin typeface="Lato" panose="020F0502020204030203" pitchFamily="34" charset="0"/>
              </a:rPr>
              <a:t>put our minds at rest </a:t>
            </a:r>
            <a:r>
              <a:rPr lang="en-GB" sz="1450" b="1" i="1" dirty="0">
                <a:solidFill>
                  <a:srgbClr val="555555"/>
                </a:solidFill>
                <a:effectLst/>
                <a:latin typeface="Lato" panose="020F0502020204030203" pitchFamily="34" charset="0"/>
              </a:rPr>
              <a:t>as far as the implications of the legal aspects are concerned.”</a:t>
            </a:r>
            <a:endParaRPr kumimoji="0" lang="en-GB" sz="1450" b="1" i="1" u="none" strike="noStrike" kern="1200" cap="none" spc="0" normalizeH="0" baseline="0" noProof="0" dirty="0">
              <a:ln>
                <a:noFill/>
              </a:ln>
              <a:solidFill>
                <a:srgbClr val="58595B"/>
              </a:solidFill>
              <a:effectLst/>
              <a:uLnTx/>
              <a:uFillTx/>
              <a:latin typeface="Lato Light"/>
              <a:ea typeface="+mn-ea"/>
              <a:cs typeface="+mn-cs"/>
            </a:endParaRPr>
          </a:p>
        </p:txBody>
      </p:sp>
      <p:sp>
        <p:nvSpPr>
          <p:cNvPr id="68" name="Text Placeholder 5">
            <a:extLst>
              <a:ext uri="{FF2B5EF4-FFF2-40B4-BE49-F238E27FC236}">
                <a16:creationId xmlns:a16="http://schemas.microsoft.com/office/drawing/2014/main" id="{FE93A930-B66B-4DB9-A629-AA5CA337F702}"/>
              </a:ext>
            </a:extLst>
          </p:cNvPr>
          <p:cNvSpPr txBox="1">
            <a:spLocks/>
          </p:cNvSpPr>
          <p:nvPr/>
        </p:nvSpPr>
        <p:spPr>
          <a:xfrm>
            <a:off x="5198435" y="5660486"/>
            <a:ext cx="2688187" cy="309834"/>
          </a:xfrm>
          <a:prstGeom prst="rect">
            <a:avLst/>
          </a:prstGeom>
        </p:spPr>
        <p:txBody>
          <a:bodyPr/>
          <a:lstStyle>
            <a:lvl1pPr marL="182880" indent="-182880" algn="l" defTabSz="914400" rtl="0" eaLnBrk="1" latinLnBrk="0" hangingPunct="1">
              <a:lnSpc>
                <a:spcPct val="90000"/>
              </a:lnSpc>
              <a:spcBef>
                <a:spcPts val="1000"/>
              </a:spcBef>
              <a:buFont typeface="Arial" panose="020B0604020202020204" pitchFamily="34" charset="0"/>
              <a:buChar char="•"/>
              <a:defRPr sz="2000" b="0" i="0" kern="1200">
                <a:solidFill>
                  <a:schemeClr val="accent4"/>
                </a:solidFill>
                <a:latin typeface="Lato" panose="020F0502020204030203" pitchFamily="34" charset="77"/>
                <a:ea typeface="+mn-ea"/>
                <a:cs typeface="+mn-cs"/>
              </a:defRPr>
            </a:lvl1pPr>
            <a:lvl2pPr marL="365760" indent="-182880" algn="l" defTabSz="914400" rtl="0" eaLnBrk="1" latinLnBrk="0" hangingPunct="1">
              <a:lnSpc>
                <a:spcPct val="90000"/>
              </a:lnSpc>
              <a:spcBef>
                <a:spcPts val="500"/>
              </a:spcBef>
              <a:buClr>
                <a:schemeClr val="accent4"/>
              </a:buClr>
              <a:buFont typeface="System Font Regular"/>
              <a:buChar char="-"/>
              <a:defRPr sz="1800" b="0" i="0" kern="1200">
                <a:solidFill>
                  <a:schemeClr val="accent4"/>
                </a:solidFill>
                <a:latin typeface="Lato" panose="020F0502020204030203" pitchFamily="34" charset="77"/>
                <a:ea typeface="+mn-ea"/>
                <a:cs typeface="+mn-cs"/>
              </a:defRPr>
            </a:lvl2pPr>
            <a:lvl3pPr marL="548640" indent="-182880" algn="l" defTabSz="914400" rtl="0" eaLnBrk="1" latinLnBrk="0" hangingPunct="1">
              <a:lnSpc>
                <a:spcPct val="90000"/>
              </a:lnSpc>
              <a:spcBef>
                <a:spcPts val="500"/>
              </a:spcBef>
              <a:buClr>
                <a:schemeClr val="accent4"/>
              </a:buClr>
              <a:buFont typeface="System Font Regular"/>
              <a:buChar char="-"/>
              <a:defRPr sz="1600" b="0" i="0" kern="1200">
                <a:solidFill>
                  <a:schemeClr val="accent4"/>
                </a:solidFill>
                <a:latin typeface="Lato" panose="020F0502020204030203" pitchFamily="34" charset="77"/>
                <a:ea typeface="+mn-ea"/>
                <a:cs typeface="+mn-cs"/>
              </a:defRPr>
            </a:lvl3pPr>
            <a:lvl4pPr marL="73152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4pPr>
            <a:lvl5pPr marL="91440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US" sz="1400" b="0" i="0" u="none" strike="noStrike" kern="1200" cap="none" spc="0" normalizeH="0" baseline="0" noProof="0" dirty="0" err="1">
                <a:ln>
                  <a:noFill/>
                </a:ln>
                <a:solidFill>
                  <a:srgbClr val="00857A"/>
                </a:solidFill>
                <a:effectLst/>
                <a:uLnTx/>
                <a:uFillTx/>
                <a:latin typeface="Lato" panose="020F0502020204030203" pitchFamily="34" charset="77"/>
                <a:ea typeface="+mn-ea"/>
                <a:cs typeface="+mn-cs"/>
              </a:rPr>
              <a:t>SUPPOR</a:t>
            </a:r>
            <a:r>
              <a:rPr lang="en-US" sz="1400" dirty="0">
                <a:solidFill>
                  <a:srgbClr val="00857A"/>
                </a:solidFill>
              </a:rPr>
              <a:t>T</a:t>
            </a:r>
            <a:endParaRPr kumimoji="0" lang="en-US" sz="1400" b="0" i="0" u="none" strike="noStrike" kern="1200" cap="none" spc="0" normalizeH="0" baseline="0" noProof="0" dirty="0">
              <a:ln>
                <a:noFill/>
              </a:ln>
              <a:solidFill>
                <a:srgbClr val="00857A"/>
              </a:solidFill>
              <a:effectLst/>
              <a:uLnTx/>
              <a:uFillTx/>
              <a:latin typeface="Lato" panose="020F0502020204030203" pitchFamily="34" charset="77"/>
              <a:ea typeface="+mn-ea"/>
              <a:cs typeface="+mn-cs"/>
            </a:endParaRPr>
          </a:p>
        </p:txBody>
      </p:sp>
      <p:sp>
        <p:nvSpPr>
          <p:cNvPr id="69" name="Text Placeholder 6">
            <a:extLst>
              <a:ext uri="{FF2B5EF4-FFF2-40B4-BE49-F238E27FC236}">
                <a16:creationId xmlns:a16="http://schemas.microsoft.com/office/drawing/2014/main" id="{A5D99649-65AC-4989-B149-CE62EF3C8EF4}"/>
              </a:ext>
            </a:extLst>
          </p:cNvPr>
          <p:cNvSpPr txBox="1">
            <a:spLocks/>
          </p:cNvSpPr>
          <p:nvPr/>
        </p:nvSpPr>
        <p:spPr>
          <a:xfrm>
            <a:off x="5363810" y="5769384"/>
            <a:ext cx="2640041" cy="420255"/>
          </a:xfrm>
          <a:prstGeom prst="rect">
            <a:avLst/>
          </a:prstGeom>
        </p:spPr>
        <p:txBody>
          <a:bodyPr/>
          <a:lstStyle>
            <a:lvl1pPr marL="182880" indent="-182880" algn="l" defTabSz="914400" rtl="0" eaLnBrk="1" latinLnBrk="0" hangingPunct="1">
              <a:lnSpc>
                <a:spcPct val="90000"/>
              </a:lnSpc>
              <a:spcBef>
                <a:spcPts val="1000"/>
              </a:spcBef>
              <a:buFont typeface="Arial" panose="020B0604020202020204" pitchFamily="34" charset="0"/>
              <a:buChar char="•"/>
              <a:defRPr sz="2000" b="0" i="0" kern="1200">
                <a:solidFill>
                  <a:schemeClr val="accent4"/>
                </a:solidFill>
                <a:latin typeface="Lato" panose="020F0502020204030203" pitchFamily="34" charset="77"/>
                <a:ea typeface="+mn-ea"/>
                <a:cs typeface="+mn-cs"/>
              </a:defRPr>
            </a:lvl1pPr>
            <a:lvl2pPr marL="365760" indent="-182880" algn="l" defTabSz="914400" rtl="0" eaLnBrk="1" latinLnBrk="0" hangingPunct="1">
              <a:lnSpc>
                <a:spcPct val="90000"/>
              </a:lnSpc>
              <a:spcBef>
                <a:spcPts val="500"/>
              </a:spcBef>
              <a:buClr>
                <a:schemeClr val="accent4"/>
              </a:buClr>
              <a:buFont typeface="System Font Regular"/>
              <a:buChar char="-"/>
              <a:defRPr sz="1800" b="0" i="0" kern="1200">
                <a:solidFill>
                  <a:schemeClr val="accent4"/>
                </a:solidFill>
                <a:latin typeface="Lato" panose="020F0502020204030203" pitchFamily="34" charset="77"/>
                <a:ea typeface="+mn-ea"/>
                <a:cs typeface="+mn-cs"/>
              </a:defRPr>
            </a:lvl2pPr>
            <a:lvl3pPr marL="548640" indent="-182880" algn="l" defTabSz="914400" rtl="0" eaLnBrk="1" latinLnBrk="0" hangingPunct="1">
              <a:lnSpc>
                <a:spcPct val="90000"/>
              </a:lnSpc>
              <a:spcBef>
                <a:spcPts val="500"/>
              </a:spcBef>
              <a:buClr>
                <a:schemeClr val="accent4"/>
              </a:buClr>
              <a:buFont typeface="System Font Regular"/>
              <a:buChar char="-"/>
              <a:defRPr sz="1600" b="0" i="0" kern="1200">
                <a:solidFill>
                  <a:schemeClr val="accent4"/>
                </a:solidFill>
                <a:latin typeface="Lato" panose="020F0502020204030203" pitchFamily="34" charset="77"/>
                <a:ea typeface="+mn-ea"/>
                <a:cs typeface="+mn-cs"/>
              </a:defRPr>
            </a:lvl3pPr>
            <a:lvl4pPr marL="73152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4pPr>
            <a:lvl5pPr marL="91440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900"/>
              </a:spcBef>
              <a:spcAft>
                <a:spcPts val="30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857A"/>
              </a:solidFill>
              <a:effectLst/>
              <a:uLnTx/>
              <a:uFillTx/>
              <a:latin typeface="Lato" panose="020F0502020204030203" pitchFamily="34" charset="77"/>
              <a:ea typeface="+mn-ea"/>
              <a:cs typeface="+mn-cs"/>
            </a:endParaRPr>
          </a:p>
        </p:txBody>
      </p:sp>
      <p:sp>
        <p:nvSpPr>
          <p:cNvPr id="70" name="Text Placeholder 7">
            <a:extLst>
              <a:ext uri="{FF2B5EF4-FFF2-40B4-BE49-F238E27FC236}">
                <a16:creationId xmlns:a16="http://schemas.microsoft.com/office/drawing/2014/main" id="{1CAF9E1C-C249-43B1-9F22-65B89532C26E}"/>
              </a:ext>
            </a:extLst>
          </p:cNvPr>
          <p:cNvSpPr txBox="1">
            <a:spLocks/>
          </p:cNvSpPr>
          <p:nvPr/>
        </p:nvSpPr>
        <p:spPr>
          <a:xfrm>
            <a:off x="9900737" y="5675074"/>
            <a:ext cx="1971859" cy="309502"/>
          </a:xfrm>
          <a:prstGeom prst="rect">
            <a:avLst/>
          </a:prstGeom>
        </p:spPr>
        <p:txBody>
          <a:bodyPr/>
          <a:lstStyle>
            <a:lvl1pPr marL="182880" indent="-182880" algn="l" defTabSz="914400" rtl="0" eaLnBrk="1" latinLnBrk="0" hangingPunct="1">
              <a:lnSpc>
                <a:spcPct val="90000"/>
              </a:lnSpc>
              <a:spcBef>
                <a:spcPts val="1000"/>
              </a:spcBef>
              <a:buFont typeface="Arial" panose="020B0604020202020204" pitchFamily="34" charset="0"/>
              <a:buChar char="•"/>
              <a:defRPr sz="2000" b="0" i="0" kern="1200">
                <a:solidFill>
                  <a:schemeClr val="accent4"/>
                </a:solidFill>
                <a:latin typeface="Lato" panose="020F0502020204030203" pitchFamily="34" charset="77"/>
                <a:ea typeface="+mn-ea"/>
                <a:cs typeface="+mn-cs"/>
              </a:defRPr>
            </a:lvl1pPr>
            <a:lvl2pPr marL="365760" indent="-182880" algn="l" defTabSz="914400" rtl="0" eaLnBrk="1" latinLnBrk="0" hangingPunct="1">
              <a:lnSpc>
                <a:spcPct val="90000"/>
              </a:lnSpc>
              <a:spcBef>
                <a:spcPts val="500"/>
              </a:spcBef>
              <a:buClr>
                <a:schemeClr val="accent4"/>
              </a:buClr>
              <a:buFont typeface="System Font Regular"/>
              <a:buChar char="-"/>
              <a:defRPr sz="1800" b="0" i="0" kern="1200">
                <a:solidFill>
                  <a:schemeClr val="accent4"/>
                </a:solidFill>
                <a:latin typeface="Lato" panose="020F0502020204030203" pitchFamily="34" charset="77"/>
                <a:ea typeface="+mn-ea"/>
                <a:cs typeface="+mn-cs"/>
              </a:defRPr>
            </a:lvl2pPr>
            <a:lvl3pPr marL="548640" indent="-182880" algn="l" defTabSz="914400" rtl="0" eaLnBrk="1" latinLnBrk="0" hangingPunct="1">
              <a:lnSpc>
                <a:spcPct val="90000"/>
              </a:lnSpc>
              <a:spcBef>
                <a:spcPts val="500"/>
              </a:spcBef>
              <a:buClr>
                <a:schemeClr val="accent4"/>
              </a:buClr>
              <a:buFont typeface="System Font Regular"/>
              <a:buChar char="-"/>
              <a:defRPr sz="1600" b="0" i="0" kern="1200">
                <a:solidFill>
                  <a:schemeClr val="accent4"/>
                </a:solidFill>
                <a:latin typeface="Lato" panose="020F0502020204030203" pitchFamily="34" charset="77"/>
                <a:ea typeface="+mn-ea"/>
                <a:cs typeface="+mn-cs"/>
              </a:defRPr>
            </a:lvl3pPr>
            <a:lvl4pPr marL="73152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4pPr>
            <a:lvl5pPr marL="91440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857A"/>
                </a:solidFill>
                <a:effectLst/>
                <a:uLnTx/>
                <a:uFillTx/>
                <a:latin typeface="Lato" panose="020F0502020204030203" pitchFamily="34" charset="77"/>
                <a:ea typeface="+mn-ea"/>
                <a:cs typeface="+mn-cs"/>
              </a:rPr>
              <a:t>PATIENT CARE</a:t>
            </a:r>
            <a:endParaRPr kumimoji="0" lang="en-US" sz="1400" b="0" i="0" u="none" strike="noStrike" kern="1200" cap="none" spc="0" normalizeH="0" baseline="0" noProof="0" dirty="0">
              <a:ln>
                <a:noFill/>
              </a:ln>
              <a:solidFill>
                <a:srgbClr val="58595B"/>
              </a:solidFill>
              <a:effectLst/>
              <a:uLnTx/>
              <a:uFillTx/>
              <a:latin typeface="Lato" panose="020F0502020204030203" pitchFamily="34" charset="77"/>
              <a:ea typeface="+mn-ea"/>
              <a:cs typeface="+mn-cs"/>
            </a:endParaRPr>
          </a:p>
        </p:txBody>
      </p:sp>
      <p:sp>
        <p:nvSpPr>
          <p:cNvPr id="71" name="object 10">
            <a:extLst>
              <a:ext uri="{FF2B5EF4-FFF2-40B4-BE49-F238E27FC236}">
                <a16:creationId xmlns:a16="http://schemas.microsoft.com/office/drawing/2014/main" id="{A39CEE39-83AA-4A77-82A4-325ED3DE7FCE}"/>
              </a:ext>
            </a:extLst>
          </p:cNvPr>
          <p:cNvSpPr/>
          <p:nvPr/>
        </p:nvSpPr>
        <p:spPr>
          <a:xfrm>
            <a:off x="0" y="3650972"/>
            <a:ext cx="11787243" cy="45719"/>
          </a:xfrm>
          <a:custGeom>
            <a:avLst/>
            <a:gdLst/>
            <a:ahLst/>
            <a:cxnLst/>
            <a:rect l="l" t="t" r="r" b="b"/>
            <a:pathLst>
              <a:path w="11275060" h="73660">
                <a:moveTo>
                  <a:pt x="11274552" y="0"/>
                </a:moveTo>
                <a:lnTo>
                  <a:pt x="0" y="0"/>
                </a:lnTo>
                <a:lnTo>
                  <a:pt x="0" y="73151"/>
                </a:lnTo>
                <a:lnTo>
                  <a:pt x="11274552" y="73151"/>
                </a:lnTo>
                <a:lnTo>
                  <a:pt x="11274552" y="0"/>
                </a:lnTo>
                <a:close/>
              </a:path>
            </a:pathLst>
          </a:custGeom>
          <a:solidFill>
            <a:srgbClr val="E5EDED"/>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857A"/>
              </a:solidFill>
              <a:effectLst/>
              <a:uLnTx/>
              <a:uFillTx/>
              <a:latin typeface="Lato"/>
              <a:ea typeface="+mn-ea"/>
              <a:cs typeface="+mn-cs"/>
            </a:endParaRPr>
          </a:p>
        </p:txBody>
      </p:sp>
      <p:sp>
        <p:nvSpPr>
          <p:cNvPr id="72" name="object 17">
            <a:extLst>
              <a:ext uri="{FF2B5EF4-FFF2-40B4-BE49-F238E27FC236}">
                <a16:creationId xmlns:a16="http://schemas.microsoft.com/office/drawing/2014/main" id="{EE8936D3-D7FC-4BB9-8EC2-712BB5C4909C}"/>
              </a:ext>
            </a:extLst>
          </p:cNvPr>
          <p:cNvSpPr/>
          <p:nvPr/>
        </p:nvSpPr>
        <p:spPr>
          <a:xfrm flipV="1">
            <a:off x="5118903" y="3755762"/>
            <a:ext cx="57609" cy="2071220"/>
          </a:xfrm>
          <a:custGeom>
            <a:avLst/>
            <a:gdLst/>
            <a:ahLst/>
            <a:cxnLst/>
            <a:rect l="l" t="t" r="r" b="b"/>
            <a:pathLst>
              <a:path w="434340" h="1922779">
                <a:moveTo>
                  <a:pt x="434086" y="0"/>
                </a:moveTo>
                <a:lnTo>
                  <a:pt x="114300" y="0"/>
                </a:lnTo>
                <a:lnTo>
                  <a:pt x="69806" y="9214"/>
                </a:lnTo>
                <a:lnTo>
                  <a:pt x="33475" y="34342"/>
                </a:lnTo>
                <a:lnTo>
                  <a:pt x="8981" y="71607"/>
                </a:lnTo>
                <a:lnTo>
                  <a:pt x="0" y="117233"/>
                </a:lnTo>
                <a:lnTo>
                  <a:pt x="0" y="1922373"/>
                </a:lnTo>
              </a:path>
            </a:pathLst>
          </a:custGeom>
          <a:ln w="12700">
            <a:solidFill>
              <a:srgbClr val="FFBA3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857A"/>
              </a:solidFill>
              <a:effectLst/>
              <a:uLnTx/>
              <a:uFillTx/>
              <a:latin typeface="Lato"/>
              <a:ea typeface="+mn-ea"/>
              <a:cs typeface="+mn-cs"/>
            </a:endParaRPr>
          </a:p>
        </p:txBody>
      </p:sp>
      <p:pic>
        <p:nvPicPr>
          <p:cNvPr id="73" name="object 18">
            <a:extLst>
              <a:ext uri="{FF2B5EF4-FFF2-40B4-BE49-F238E27FC236}">
                <a16:creationId xmlns:a16="http://schemas.microsoft.com/office/drawing/2014/main" id="{0B27E27A-86DD-450E-9223-10737276324D}"/>
              </a:ext>
            </a:extLst>
          </p:cNvPr>
          <p:cNvPicPr/>
          <p:nvPr/>
        </p:nvPicPr>
        <p:blipFill>
          <a:blip r:embed="rId7" cstate="screen">
            <a:extLst>
              <a:ext uri="{28A0092B-C50C-407E-A947-70E740481C1C}">
                <a14:useLocalDpi xmlns:a14="http://schemas.microsoft.com/office/drawing/2010/main"/>
              </a:ext>
            </a:extLst>
          </a:blip>
          <a:stretch>
            <a:fillRect/>
          </a:stretch>
        </p:blipFill>
        <p:spPr>
          <a:xfrm>
            <a:off x="5023785" y="3595802"/>
            <a:ext cx="174650" cy="174663"/>
          </a:xfrm>
          <a:prstGeom prst="rect">
            <a:avLst/>
          </a:prstGeom>
        </p:spPr>
      </p:pic>
      <p:sp>
        <p:nvSpPr>
          <p:cNvPr id="79" name="TextBox 78">
            <a:extLst>
              <a:ext uri="{FF2B5EF4-FFF2-40B4-BE49-F238E27FC236}">
                <a16:creationId xmlns:a16="http://schemas.microsoft.com/office/drawing/2014/main" id="{DCFE696A-01EE-4BCD-BE72-4FFC93F4699F}"/>
              </a:ext>
            </a:extLst>
          </p:cNvPr>
          <p:cNvSpPr txBox="1"/>
          <p:nvPr/>
        </p:nvSpPr>
        <p:spPr>
          <a:xfrm>
            <a:off x="5156140" y="3787139"/>
            <a:ext cx="2225079" cy="18928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58595B"/>
                </a:solidFill>
                <a:effectLst/>
                <a:uLnTx/>
                <a:uFillTx/>
                <a:latin typeface="Lato Light"/>
                <a:ea typeface="+mn-ea"/>
                <a:cs typeface="+mn-cs"/>
              </a:rPr>
              <a:t>“The workflow team had the trainer (Maria) on hand for any problems we may have. The trainer had the background and knowledge of how to structure the workflow optimisation and adjust it to fit within this practice.”</a:t>
            </a:r>
          </a:p>
        </p:txBody>
      </p:sp>
      <p:sp>
        <p:nvSpPr>
          <p:cNvPr id="80" name="TextBox 79">
            <a:extLst>
              <a:ext uri="{FF2B5EF4-FFF2-40B4-BE49-F238E27FC236}">
                <a16:creationId xmlns:a16="http://schemas.microsoft.com/office/drawing/2014/main" id="{433DAC1B-BFEE-4667-9B52-B1EF71A21551}"/>
              </a:ext>
            </a:extLst>
          </p:cNvPr>
          <p:cNvSpPr txBox="1"/>
          <p:nvPr/>
        </p:nvSpPr>
        <p:spPr>
          <a:xfrm>
            <a:off x="7575629" y="3797082"/>
            <a:ext cx="1868692" cy="169277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58595B"/>
                </a:solidFill>
                <a:effectLst/>
                <a:uLnTx/>
                <a:uFillTx/>
                <a:latin typeface="Lato Light"/>
                <a:ea typeface="+mn-ea"/>
                <a:cs typeface="+mn-cs"/>
              </a:rPr>
              <a:t>“Any errors that do occur are picked up by audit and discussed in team meetings, where they are RAG rated. Most of ours are now green or occasionally amber”.</a:t>
            </a:r>
          </a:p>
        </p:txBody>
      </p:sp>
      <p:sp>
        <p:nvSpPr>
          <p:cNvPr id="81" name="TextBox 80">
            <a:extLst>
              <a:ext uri="{FF2B5EF4-FFF2-40B4-BE49-F238E27FC236}">
                <a16:creationId xmlns:a16="http://schemas.microsoft.com/office/drawing/2014/main" id="{3D6B7D55-1ED4-4DB2-8D9C-48AB06740611}"/>
              </a:ext>
            </a:extLst>
          </p:cNvPr>
          <p:cNvSpPr txBox="1"/>
          <p:nvPr/>
        </p:nvSpPr>
        <p:spPr>
          <a:xfrm>
            <a:off x="9813393" y="3787139"/>
            <a:ext cx="1823459" cy="169277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dirty="0">
                <a:solidFill>
                  <a:srgbClr val="58595B"/>
                </a:solidFill>
                <a:latin typeface="Lato Light"/>
              </a:rPr>
              <a:t>“The most important people are of course the patients – their letters are being coded and distributed correctly, and all of this is being done quickly.”</a:t>
            </a:r>
            <a:endParaRPr kumimoji="0" lang="en-GB" sz="1300" b="0" i="0" u="none" strike="noStrike" kern="1200" cap="none" spc="0" normalizeH="0" baseline="0" noProof="0" dirty="0">
              <a:ln>
                <a:noFill/>
              </a:ln>
              <a:solidFill>
                <a:srgbClr val="58595B"/>
              </a:solidFill>
              <a:effectLst/>
              <a:uLnTx/>
              <a:uFillTx/>
              <a:latin typeface="Lato Light"/>
              <a:ea typeface="+mn-ea"/>
              <a:cs typeface="+mn-cs"/>
            </a:endParaRPr>
          </a:p>
        </p:txBody>
      </p:sp>
      <p:sp>
        <p:nvSpPr>
          <p:cNvPr id="82" name="Title 4">
            <a:extLst>
              <a:ext uri="{FF2B5EF4-FFF2-40B4-BE49-F238E27FC236}">
                <a16:creationId xmlns:a16="http://schemas.microsoft.com/office/drawing/2014/main" id="{1F1DA2C7-596A-4B9C-B263-A12D06DEDDA4}"/>
              </a:ext>
            </a:extLst>
          </p:cNvPr>
          <p:cNvSpPr txBox="1">
            <a:spLocks/>
          </p:cNvSpPr>
          <p:nvPr/>
        </p:nvSpPr>
        <p:spPr>
          <a:xfrm>
            <a:off x="304138" y="526014"/>
            <a:ext cx="6873974" cy="98499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b="0" i="0" kern="1200" baseline="0">
                <a:solidFill>
                  <a:schemeClr val="accent4"/>
                </a:solidFill>
                <a:latin typeface="Lato Light" panose="020F0302020204030203" pitchFamily="34" charset="77"/>
                <a:ea typeface="Lato Thin" panose="020F0502020204030203" pitchFamily="34" charset="0"/>
                <a:cs typeface="Lato Thin" panose="020F050202020403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200" b="1" dirty="0">
                <a:solidFill>
                  <a:srgbClr val="FFFFFF"/>
                </a:solidFill>
                <a:latin typeface="Lato Black" panose="020F0A02020204030203" pitchFamily="34" charset="0"/>
                <a:ea typeface="Lato Thin"/>
                <a:cs typeface="Lato Thin"/>
              </a:rPr>
              <a:t>Ashdown Medical Group</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300" b="1" i="0" u="none" strike="noStrike" kern="1200" cap="none" spc="0" normalizeH="0" baseline="0" noProof="0" dirty="0">
                <a:ln>
                  <a:noFill/>
                </a:ln>
                <a:solidFill>
                  <a:srgbClr val="FFFFFF"/>
                </a:solidFill>
                <a:effectLst/>
                <a:uLnTx/>
                <a:uFillTx/>
                <a:latin typeface="Lato Light"/>
                <a:ea typeface="Lato Thin"/>
                <a:cs typeface="Lato Thin"/>
              </a:rPr>
              <a:t>How Thornfields Training helped us </a:t>
            </a:r>
            <a:r>
              <a:rPr lang="en-US" sz="2300" b="1" dirty="0">
                <a:solidFill>
                  <a:srgbClr val="FFFFFF"/>
                </a:solidFill>
                <a:latin typeface="Lato Light"/>
                <a:ea typeface="Lato Thin"/>
                <a:cs typeface="Lato Thin"/>
              </a:rPr>
              <a:t>optimise our workflow with their Correspondence Management course</a:t>
            </a:r>
            <a:endParaRPr kumimoji="0" lang="en-US" sz="2300" b="1" i="0" u="none" strike="noStrike" kern="1200" cap="none" spc="0" normalizeH="0" baseline="0" noProof="0" dirty="0">
              <a:ln>
                <a:noFill/>
              </a:ln>
              <a:solidFill>
                <a:srgbClr val="FFFFFF"/>
              </a:solidFill>
              <a:effectLst/>
              <a:uLnTx/>
              <a:uFillTx/>
              <a:latin typeface="Lato Light"/>
              <a:ea typeface="Lato Thin"/>
              <a:cs typeface="Lato Thin"/>
            </a:endParaRPr>
          </a:p>
        </p:txBody>
      </p:sp>
      <p:pic>
        <p:nvPicPr>
          <p:cNvPr id="4" name="Picture 3">
            <a:extLst>
              <a:ext uri="{FF2B5EF4-FFF2-40B4-BE49-F238E27FC236}">
                <a16:creationId xmlns:a16="http://schemas.microsoft.com/office/drawing/2014/main" id="{3C20A51B-E483-27FB-90F4-21D6A538C4DF}"/>
              </a:ext>
            </a:extLst>
          </p:cNvPr>
          <p:cNvPicPr>
            <a:picLocks noChangeAspect="1"/>
          </p:cNvPicPr>
          <p:nvPr/>
        </p:nvPicPr>
        <p:blipFill>
          <a:blip r:embed="rId8"/>
          <a:stretch>
            <a:fillRect/>
          </a:stretch>
        </p:blipFill>
        <p:spPr>
          <a:xfrm>
            <a:off x="7919208" y="182010"/>
            <a:ext cx="4221322" cy="829188"/>
          </a:xfrm>
          <a:prstGeom prst="rect">
            <a:avLst/>
          </a:prstGeom>
        </p:spPr>
      </p:pic>
      <p:sp>
        <p:nvSpPr>
          <p:cNvPr id="5" name="Text Placeholder 7">
            <a:extLst>
              <a:ext uri="{FF2B5EF4-FFF2-40B4-BE49-F238E27FC236}">
                <a16:creationId xmlns:a16="http://schemas.microsoft.com/office/drawing/2014/main" id="{CBC716BD-7F73-997B-C393-CE80DDEFBB6E}"/>
              </a:ext>
            </a:extLst>
          </p:cNvPr>
          <p:cNvSpPr txBox="1">
            <a:spLocks/>
          </p:cNvSpPr>
          <p:nvPr/>
        </p:nvSpPr>
        <p:spPr>
          <a:xfrm>
            <a:off x="7533975" y="5660486"/>
            <a:ext cx="1843507" cy="454206"/>
          </a:xfrm>
          <a:prstGeom prst="rect">
            <a:avLst/>
          </a:prstGeom>
        </p:spPr>
        <p:txBody>
          <a:bodyPr/>
          <a:lstStyle>
            <a:lvl1pPr marL="182880" indent="-182880" algn="l" defTabSz="914400" rtl="0" eaLnBrk="1" latinLnBrk="0" hangingPunct="1">
              <a:lnSpc>
                <a:spcPct val="90000"/>
              </a:lnSpc>
              <a:spcBef>
                <a:spcPts val="1000"/>
              </a:spcBef>
              <a:buFont typeface="Arial" panose="020B0604020202020204" pitchFamily="34" charset="0"/>
              <a:buChar char="•"/>
              <a:defRPr sz="2000" b="0" i="0" kern="1200">
                <a:solidFill>
                  <a:schemeClr val="accent4"/>
                </a:solidFill>
                <a:latin typeface="Lato" panose="020F0502020204030203" pitchFamily="34" charset="77"/>
                <a:ea typeface="+mn-ea"/>
                <a:cs typeface="+mn-cs"/>
              </a:defRPr>
            </a:lvl1pPr>
            <a:lvl2pPr marL="365760" indent="-182880" algn="l" defTabSz="914400" rtl="0" eaLnBrk="1" latinLnBrk="0" hangingPunct="1">
              <a:lnSpc>
                <a:spcPct val="90000"/>
              </a:lnSpc>
              <a:spcBef>
                <a:spcPts val="500"/>
              </a:spcBef>
              <a:buClr>
                <a:schemeClr val="accent4"/>
              </a:buClr>
              <a:buFont typeface="System Font Regular"/>
              <a:buChar char="-"/>
              <a:defRPr sz="1800" b="0" i="0" kern="1200">
                <a:solidFill>
                  <a:schemeClr val="accent4"/>
                </a:solidFill>
                <a:latin typeface="Lato" panose="020F0502020204030203" pitchFamily="34" charset="77"/>
                <a:ea typeface="+mn-ea"/>
                <a:cs typeface="+mn-cs"/>
              </a:defRPr>
            </a:lvl2pPr>
            <a:lvl3pPr marL="548640" indent="-182880" algn="l" defTabSz="914400" rtl="0" eaLnBrk="1" latinLnBrk="0" hangingPunct="1">
              <a:lnSpc>
                <a:spcPct val="90000"/>
              </a:lnSpc>
              <a:spcBef>
                <a:spcPts val="500"/>
              </a:spcBef>
              <a:buClr>
                <a:schemeClr val="accent4"/>
              </a:buClr>
              <a:buFont typeface="System Font Regular"/>
              <a:buChar char="-"/>
              <a:defRPr sz="1600" b="0" i="0" kern="1200">
                <a:solidFill>
                  <a:schemeClr val="accent4"/>
                </a:solidFill>
                <a:latin typeface="Lato" panose="020F0502020204030203" pitchFamily="34" charset="77"/>
                <a:ea typeface="+mn-ea"/>
                <a:cs typeface="+mn-cs"/>
              </a:defRPr>
            </a:lvl3pPr>
            <a:lvl4pPr marL="73152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4pPr>
            <a:lvl5pPr marL="914400" indent="-182880" algn="l" defTabSz="914400" rtl="0" eaLnBrk="1" latinLnBrk="0" hangingPunct="1">
              <a:lnSpc>
                <a:spcPct val="90000"/>
              </a:lnSpc>
              <a:spcBef>
                <a:spcPts val="500"/>
              </a:spcBef>
              <a:buClr>
                <a:schemeClr val="accent4"/>
              </a:buClr>
              <a:buFont typeface="System Font Regular"/>
              <a:buChar char="-"/>
              <a:defRPr sz="1400" b="0" i="0" kern="1200">
                <a:solidFill>
                  <a:schemeClr val="accent4"/>
                </a:solidFill>
                <a:latin typeface="Lato" panose="020F0502020204030203"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US" sz="1400" dirty="0">
                <a:solidFill>
                  <a:srgbClr val="00857A"/>
                </a:solidFill>
              </a:rPr>
              <a:t>PROFESSIONALISM</a:t>
            </a:r>
            <a:endParaRPr kumimoji="0" lang="en-US" sz="1400" b="0" i="0" u="none" strike="noStrike" kern="1200" cap="none" spc="0" normalizeH="0" baseline="0" noProof="0" dirty="0">
              <a:ln>
                <a:noFill/>
              </a:ln>
              <a:solidFill>
                <a:srgbClr val="58595B"/>
              </a:solidFill>
              <a:effectLst/>
              <a:uLnTx/>
              <a:uFillTx/>
              <a:latin typeface="Lato" panose="020F0502020204030203" pitchFamily="34" charset="77"/>
              <a:ea typeface="+mn-ea"/>
              <a:cs typeface="+mn-cs"/>
            </a:endParaRPr>
          </a:p>
        </p:txBody>
      </p:sp>
      <p:pic>
        <p:nvPicPr>
          <p:cNvPr id="8" name="Picture 7">
            <a:extLst>
              <a:ext uri="{FF2B5EF4-FFF2-40B4-BE49-F238E27FC236}">
                <a16:creationId xmlns:a16="http://schemas.microsoft.com/office/drawing/2014/main" id="{658F5574-9833-3CB6-3985-879640B3EFC5}"/>
              </a:ext>
            </a:extLst>
          </p:cNvPr>
          <p:cNvPicPr>
            <a:picLocks noChangeAspect="1"/>
          </p:cNvPicPr>
          <p:nvPr/>
        </p:nvPicPr>
        <p:blipFill>
          <a:blip r:embed="rId9"/>
          <a:stretch>
            <a:fillRect/>
          </a:stretch>
        </p:blipFill>
        <p:spPr>
          <a:xfrm>
            <a:off x="10249986" y="6256247"/>
            <a:ext cx="1823460" cy="433807"/>
          </a:xfrm>
          <a:prstGeom prst="rect">
            <a:avLst/>
          </a:prstGeom>
        </p:spPr>
      </p:pic>
      <p:sp>
        <p:nvSpPr>
          <p:cNvPr id="13" name="object 16">
            <a:extLst>
              <a:ext uri="{FF2B5EF4-FFF2-40B4-BE49-F238E27FC236}">
                <a16:creationId xmlns:a16="http://schemas.microsoft.com/office/drawing/2014/main" id="{A46056EA-77E5-E83F-B04B-4149F638BA20}"/>
              </a:ext>
            </a:extLst>
          </p:cNvPr>
          <p:cNvSpPr/>
          <p:nvPr/>
        </p:nvSpPr>
        <p:spPr>
          <a:xfrm>
            <a:off x="2326332" y="2005497"/>
            <a:ext cx="45719" cy="1055193"/>
          </a:xfrm>
          <a:custGeom>
            <a:avLst/>
            <a:gdLst/>
            <a:ahLst/>
            <a:cxnLst/>
            <a:rect l="l" t="t" r="r" b="b"/>
            <a:pathLst>
              <a:path w="45720" h="919479">
                <a:moveTo>
                  <a:pt x="45720" y="0"/>
                </a:moveTo>
                <a:lnTo>
                  <a:pt x="0" y="0"/>
                </a:lnTo>
                <a:lnTo>
                  <a:pt x="0" y="919124"/>
                </a:lnTo>
                <a:lnTo>
                  <a:pt x="45720" y="919124"/>
                </a:lnTo>
                <a:lnTo>
                  <a:pt x="45720" y="0"/>
                </a:lnTo>
                <a:close/>
              </a:path>
            </a:pathLst>
          </a:custGeom>
          <a:solidFill>
            <a:srgbClr val="FFBA3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857A"/>
              </a:solidFill>
              <a:effectLst/>
              <a:uLnTx/>
              <a:uFillTx/>
              <a:latin typeface="Lato"/>
              <a:ea typeface="+mn-ea"/>
              <a:cs typeface="+mn-cs"/>
            </a:endParaRPr>
          </a:p>
        </p:txBody>
      </p:sp>
      <p:pic>
        <p:nvPicPr>
          <p:cNvPr id="17" name="Graphic 16" descr="Boardroom with solid fill">
            <a:extLst>
              <a:ext uri="{FF2B5EF4-FFF2-40B4-BE49-F238E27FC236}">
                <a16:creationId xmlns:a16="http://schemas.microsoft.com/office/drawing/2014/main" id="{B0A746BC-1850-BA20-E748-FEEE2BA6396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44238" y="2511896"/>
            <a:ext cx="728522" cy="728522"/>
          </a:xfrm>
          <a:prstGeom prst="rect">
            <a:avLst/>
          </a:prstGeom>
        </p:spPr>
      </p:pic>
      <p:sp>
        <p:nvSpPr>
          <p:cNvPr id="21" name="TextBox 20">
            <a:extLst>
              <a:ext uri="{FF2B5EF4-FFF2-40B4-BE49-F238E27FC236}">
                <a16:creationId xmlns:a16="http://schemas.microsoft.com/office/drawing/2014/main" id="{359E7521-712A-E104-9208-58750F376D43}"/>
              </a:ext>
            </a:extLst>
          </p:cNvPr>
          <p:cNvSpPr txBox="1"/>
          <p:nvPr/>
        </p:nvSpPr>
        <p:spPr>
          <a:xfrm>
            <a:off x="182259" y="6138778"/>
            <a:ext cx="4210280" cy="600164"/>
          </a:xfrm>
          <a:prstGeom prst="rect">
            <a:avLst/>
          </a:prstGeom>
          <a:noFill/>
        </p:spPr>
        <p:txBody>
          <a:bodyPr wrap="square">
            <a:spAutoFit/>
          </a:bodyPr>
          <a:lstStyle/>
          <a:p>
            <a:r>
              <a:rPr lang="en-GB" sz="1100" b="1" cap="all" dirty="0">
                <a:solidFill>
                  <a:srgbClr val="000000"/>
                </a:solidFill>
                <a:latin typeface="Lato Black" panose="020F0502020204030203" pitchFamily="34" charset="0"/>
                <a:ea typeface="Lato Black" panose="020F0502020204030203" pitchFamily="34" charset="0"/>
                <a:cs typeface="Lato Black" panose="020F0502020204030203" pitchFamily="34" charset="0"/>
              </a:rPr>
              <a:t>Feedback from: </a:t>
            </a:r>
            <a:r>
              <a:rPr lang="en-GB" sz="1100" b="0" i="1" dirty="0">
                <a:solidFill>
                  <a:srgbClr val="000000"/>
                </a:solidFill>
                <a:effectLst/>
                <a:latin typeface="Lato" panose="020F0502020204030203" pitchFamily="34" charset="0"/>
                <a:ea typeface="Lato" panose="020F0502020204030203" pitchFamily="34" charset="0"/>
                <a:cs typeface="Lato" panose="020F0502020204030203" pitchFamily="34" charset="0"/>
              </a:rPr>
              <a:t>Sue Hill, Workflow Manager – Ashdown Medical Group (an East Sussex surgery on two sites serving 14k patients)</a:t>
            </a:r>
            <a:endParaRPr lang="en-GB" sz="1100" i="1" dirty="0">
              <a:solidFill>
                <a:srgbClr val="000000"/>
              </a:solidFill>
              <a:effectLst/>
              <a:latin typeface="Lato" panose="020F0502020204030203" pitchFamily="34" charset="0"/>
              <a:ea typeface="Lato" panose="020F0502020204030203" pitchFamily="34" charset="0"/>
              <a:cs typeface="Lato" panose="020F0502020204030203" pitchFamily="34" charset="0"/>
            </a:endParaRPr>
          </a:p>
        </p:txBody>
      </p:sp>
      <p:sp>
        <p:nvSpPr>
          <p:cNvPr id="24" name="object 17">
            <a:extLst>
              <a:ext uri="{FF2B5EF4-FFF2-40B4-BE49-F238E27FC236}">
                <a16:creationId xmlns:a16="http://schemas.microsoft.com/office/drawing/2014/main" id="{709EE249-03AB-7766-6464-F212030C95B3}"/>
              </a:ext>
            </a:extLst>
          </p:cNvPr>
          <p:cNvSpPr/>
          <p:nvPr/>
        </p:nvSpPr>
        <p:spPr>
          <a:xfrm flipV="1">
            <a:off x="7416746" y="3750106"/>
            <a:ext cx="51804" cy="2071223"/>
          </a:xfrm>
          <a:custGeom>
            <a:avLst/>
            <a:gdLst/>
            <a:ahLst/>
            <a:cxnLst/>
            <a:rect l="l" t="t" r="r" b="b"/>
            <a:pathLst>
              <a:path w="434340" h="1922779">
                <a:moveTo>
                  <a:pt x="434086" y="0"/>
                </a:moveTo>
                <a:lnTo>
                  <a:pt x="114300" y="0"/>
                </a:lnTo>
                <a:lnTo>
                  <a:pt x="69806" y="9214"/>
                </a:lnTo>
                <a:lnTo>
                  <a:pt x="33475" y="34342"/>
                </a:lnTo>
                <a:lnTo>
                  <a:pt x="8981" y="71607"/>
                </a:lnTo>
                <a:lnTo>
                  <a:pt x="0" y="117233"/>
                </a:lnTo>
                <a:lnTo>
                  <a:pt x="0" y="1922373"/>
                </a:lnTo>
              </a:path>
            </a:pathLst>
          </a:custGeom>
          <a:ln w="12700">
            <a:solidFill>
              <a:srgbClr val="FFBA3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857A"/>
              </a:solidFill>
              <a:effectLst/>
              <a:uLnTx/>
              <a:uFillTx/>
              <a:latin typeface="Lato"/>
              <a:ea typeface="+mn-ea"/>
              <a:cs typeface="+mn-cs"/>
            </a:endParaRPr>
          </a:p>
        </p:txBody>
      </p:sp>
      <p:sp>
        <p:nvSpPr>
          <p:cNvPr id="25" name="object 17">
            <a:extLst>
              <a:ext uri="{FF2B5EF4-FFF2-40B4-BE49-F238E27FC236}">
                <a16:creationId xmlns:a16="http://schemas.microsoft.com/office/drawing/2014/main" id="{EDF92218-5265-BD48-BBAC-EDA43D29D90C}"/>
              </a:ext>
            </a:extLst>
          </p:cNvPr>
          <p:cNvSpPr/>
          <p:nvPr/>
        </p:nvSpPr>
        <p:spPr>
          <a:xfrm flipV="1">
            <a:off x="9726062" y="3762583"/>
            <a:ext cx="87331" cy="2071221"/>
          </a:xfrm>
          <a:custGeom>
            <a:avLst/>
            <a:gdLst/>
            <a:ahLst/>
            <a:cxnLst/>
            <a:rect l="l" t="t" r="r" b="b"/>
            <a:pathLst>
              <a:path w="434340" h="1922779">
                <a:moveTo>
                  <a:pt x="434086" y="0"/>
                </a:moveTo>
                <a:lnTo>
                  <a:pt x="114300" y="0"/>
                </a:lnTo>
                <a:lnTo>
                  <a:pt x="69806" y="9214"/>
                </a:lnTo>
                <a:lnTo>
                  <a:pt x="33475" y="34342"/>
                </a:lnTo>
                <a:lnTo>
                  <a:pt x="8981" y="71607"/>
                </a:lnTo>
                <a:lnTo>
                  <a:pt x="0" y="117233"/>
                </a:lnTo>
                <a:lnTo>
                  <a:pt x="0" y="1922373"/>
                </a:lnTo>
              </a:path>
            </a:pathLst>
          </a:custGeom>
          <a:ln w="12700">
            <a:solidFill>
              <a:srgbClr val="FFBA3C"/>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857A"/>
              </a:solidFill>
              <a:effectLst/>
              <a:uLnTx/>
              <a:uFillTx/>
              <a:latin typeface="Lato"/>
              <a:ea typeface="+mn-ea"/>
              <a:cs typeface="+mn-cs"/>
            </a:endParaRPr>
          </a:p>
        </p:txBody>
      </p:sp>
      <p:pic>
        <p:nvPicPr>
          <p:cNvPr id="75" name="object 20">
            <a:extLst>
              <a:ext uri="{FF2B5EF4-FFF2-40B4-BE49-F238E27FC236}">
                <a16:creationId xmlns:a16="http://schemas.microsoft.com/office/drawing/2014/main" id="{76DCD0CE-E294-4881-AC1B-FBB6BC9AE80F}"/>
              </a:ext>
            </a:extLst>
          </p:cNvPr>
          <p:cNvPicPr/>
          <p:nvPr/>
        </p:nvPicPr>
        <p:blipFill>
          <a:blip r:embed="rId12" cstate="screen">
            <a:extLst>
              <a:ext uri="{28A0092B-C50C-407E-A947-70E740481C1C}">
                <a14:useLocalDpi xmlns:a14="http://schemas.microsoft.com/office/drawing/2010/main"/>
              </a:ext>
            </a:extLst>
          </a:blip>
          <a:stretch>
            <a:fillRect/>
          </a:stretch>
        </p:blipFill>
        <p:spPr>
          <a:xfrm>
            <a:off x="9638731" y="3605726"/>
            <a:ext cx="174663" cy="174663"/>
          </a:xfrm>
          <a:prstGeom prst="rect">
            <a:avLst/>
          </a:prstGeom>
        </p:spPr>
      </p:pic>
      <p:pic>
        <p:nvPicPr>
          <p:cNvPr id="77" name="object 22">
            <a:extLst>
              <a:ext uri="{FF2B5EF4-FFF2-40B4-BE49-F238E27FC236}">
                <a16:creationId xmlns:a16="http://schemas.microsoft.com/office/drawing/2014/main" id="{DCC7AFFC-BE21-4A3A-A02C-C8DE9EC23C80}"/>
              </a:ext>
            </a:extLst>
          </p:cNvPr>
          <p:cNvPicPr/>
          <p:nvPr/>
        </p:nvPicPr>
        <p:blipFill>
          <a:blip r:embed="rId13" cstate="screen">
            <a:extLst>
              <a:ext uri="{28A0092B-C50C-407E-A947-70E740481C1C}">
                <a14:useLocalDpi xmlns:a14="http://schemas.microsoft.com/office/drawing/2010/main"/>
              </a:ext>
            </a:extLst>
          </a:blip>
          <a:stretch>
            <a:fillRect/>
          </a:stretch>
        </p:blipFill>
        <p:spPr>
          <a:xfrm>
            <a:off x="7321303" y="3588185"/>
            <a:ext cx="174650" cy="174663"/>
          </a:xfrm>
          <a:prstGeom prst="rect">
            <a:avLst/>
          </a:prstGeom>
        </p:spPr>
      </p:pic>
      <p:pic>
        <p:nvPicPr>
          <p:cNvPr id="6" name="Picture 5">
            <a:extLst>
              <a:ext uri="{FF2B5EF4-FFF2-40B4-BE49-F238E27FC236}">
                <a16:creationId xmlns:a16="http://schemas.microsoft.com/office/drawing/2014/main" id="{D27BD529-4A4F-FD99-6CDE-C7C938BFFBCA}"/>
              </a:ext>
            </a:extLst>
          </p:cNvPr>
          <p:cNvPicPr>
            <a:picLocks noChangeAspect="1"/>
          </p:cNvPicPr>
          <p:nvPr/>
        </p:nvPicPr>
        <p:blipFill>
          <a:blip r:embed="rId14"/>
          <a:stretch>
            <a:fillRect/>
          </a:stretch>
        </p:blipFill>
        <p:spPr>
          <a:xfrm>
            <a:off x="8342427" y="1193702"/>
            <a:ext cx="3419475" cy="1428750"/>
          </a:xfrm>
          <a:prstGeom prst="rect">
            <a:avLst/>
          </a:prstGeom>
        </p:spPr>
      </p:pic>
      <p:pic>
        <p:nvPicPr>
          <p:cNvPr id="7" name="Graphic 6" descr="Bar graph with downward trend with solid fill">
            <a:extLst>
              <a:ext uri="{FF2B5EF4-FFF2-40B4-BE49-F238E27FC236}">
                <a16:creationId xmlns:a16="http://schemas.microsoft.com/office/drawing/2014/main" id="{B9378EE9-69EA-4C3B-B7ED-2F9CC847F69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74290" y="2621151"/>
            <a:ext cx="527379" cy="527379"/>
          </a:xfrm>
          <a:prstGeom prst="rect">
            <a:avLst/>
          </a:prstGeom>
        </p:spPr>
      </p:pic>
      <p:pic>
        <p:nvPicPr>
          <p:cNvPr id="12" name="Graphic 11" descr="Gauge with solid fill">
            <a:extLst>
              <a:ext uri="{FF2B5EF4-FFF2-40B4-BE49-F238E27FC236}">
                <a16:creationId xmlns:a16="http://schemas.microsoft.com/office/drawing/2014/main" id="{7116E0AB-438D-7898-FCF3-4C08CB5F058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515288" y="2524870"/>
            <a:ext cx="634479" cy="634479"/>
          </a:xfrm>
          <a:prstGeom prst="rect">
            <a:avLst/>
          </a:prstGeom>
        </p:spPr>
      </p:pic>
      <p:sp>
        <p:nvSpPr>
          <p:cNvPr id="2" name="TextBox 1">
            <a:extLst>
              <a:ext uri="{FF2B5EF4-FFF2-40B4-BE49-F238E27FC236}">
                <a16:creationId xmlns:a16="http://schemas.microsoft.com/office/drawing/2014/main" id="{6AD2AA66-41CC-6C7E-3E3B-C16D8705F1F0}"/>
              </a:ext>
            </a:extLst>
          </p:cNvPr>
          <p:cNvSpPr txBox="1"/>
          <p:nvPr/>
        </p:nvSpPr>
        <p:spPr>
          <a:xfrm>
            <a:off x="4367651" y="6111376"/>
            <a:ext cx="2451892" cy="584775"/>
          </a:xfrm>
          <a:prstGeom prst="rect">
            <a:avLst/>
          </a:prstGeom>
          <a:noFill/>
          <a:ln>
            <a:solidFill>
              <a:schemeClr val="accent3"/>
            </a:solidFill>
          </a:ln>
        </p:spPr>
        <p:txBody>
          <a:bodyPr wrap="square" rtlCol="0">
            <a:spAutoFit/>
          </a:bodyPr>
          <a:lstStyle/>
          <a:p>
            <a:pPr algn="ctr"/>
            <a:r>
              <a:rPr lang="en-GB" sz="1600" dirty="0">
                <a:hlinkClick r:id="rId6"/>
              </a:rPr>
              <a:t>Click here to book your organisation’s training</a:t>
            </a:r>
            <a:endParaRPr lang="en-GB" sz="1600" dirty="0"/>
          </a:p>
        </p:txBody>
      </p:sp>
    </p:spTree>
    <p:extLst>
      <p:ext uri="{BB962C8B-B14F-4D97-AF65-F5344CB8AC3E}">
        <p14:creationId xmlns:p14="http://schemas.microsoft.com/office/powerpoint/2010/main" val="2836189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Stericycle 2021">
      <a:dk1>
        <a:srgbClr val="00857A"/>
      </a:dk1>
      <a:lt1>
        <a:srgbClr val="FFFFFF"/>
      </a:lt1>
      <a:dk2>
        <a:srgbClr val="007F9A"/>
      </a:dk2>
      <a:lt2>
        <a:srgbClr val="E5EDED"/>
      </a:lt2>
      <a:accent1>
        <a:srgbClr val="FFBA3C"/>
      </a:accent1>
      <a:accent2>
        <a:srgbClr val="4BC3D8"/>
      </a:accent2>
      <a:accent3>
        <a:srgbClr val="00AB9C"/>
      </a:accent3>
      <a:accent4>
        <a:srgbClr val="58595B"/>
      </a:accent4>
      <a:accent5>
        <a:srgbClr val="1A242B"/>
      </a:accent5>
      <a:accent6>
        <a:srgbClr val="FFFFFF"/>
      </a:accent6>
      <a:hlink>
        <a:srgbClr val="4BC4D7"/>
      </a:hlink>
      <a:folHlink>
        <a:srgbClr val="00AB9C"/>
      </a:folHlink>
    </a:clrScheme>
    <a:fontScheme name="Stericycle Brand Fonts">
      <a:majorFont>
        <a:latin typeface="Lato Thin"/>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4d1cd1f-9420-46df-ae7d-3014d7ba5746">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5DBF7F8FEE04B4C9EC4D7C19BAFA81F" ma:contentTypeVersion="13" ma:contentTypeDescription="Create a new document." ma:contentTypeScope="" ma:versionID="7a7f61ec7dce3c2e4cd57cf4972d1a61">
  <xsd:schema xmlns:xsd="http://www.w3.org/2001/XMLSchema" xmlns:xs="http://www.w3.org/2001/XMLSchema" xmlns:p="http://schemas.microsoft.com/office/2006/metadata/properties" xmlns:ns2="14d1cd1f-9420-46df-ae7d-3014d7ba5746" xmlns:ns3="2af275fd-da0d-4fc8-8921-01628ad68a5e" targetNamespace="http://schemas.microsoft.com/office/2006/metadata/properties" ma:root="true" ma:fieldsID="b9a31d39b2578130853bfdba4a1f08c8" ns2:_="" ns3:_="">
    <xsd:import namespace="14d1cd1f-9420-46df-ae7d-3014d7ba5746"/>
    <xsd:import namespace="2af275fd-da0d-4fc8-8921-01628ad68a5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2:MediaServiceGenerationTime" minOccurs="0"/>
                <xsd:element ref="ns2:MediaServiceEventHashCode" minOccurs="0"/>
                <xsd:element ref="ns2:MediaServiceDateTaken" minOccurs="0"/>
                <xsd:element ref="ns2:MediaLengthInSeconds" minOccurs="0"/>
                <xsd:element ref="ns2:MediaServiceOCR"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d1cd1f-9420-46df-ae7d-3014d7ba57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1631852f-12a7-4547-8000-545b83dd3770" ma:termSetId="09814cd3-568e-fe90-9814-8d621ff8fb84" ma:anchorId="fba54fb3-c3e1-fe81-a776-ca4b69148c4d" ma:open="true" ma:isKeyword="false">
      <xsd:complexType>
        <xsd:sequence>
          <xsd:element ref="pc:Terms" minOccurs="0" maxOccurs="1"/>
        </xsd:sequence>
      </xsd:complex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descriptio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ObjectDetectorVersions" ma:index="1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af275fd-da0d-4fc8-8921-01628ad68a5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055B82-3613-485B-9B68-8EA18560019F}">
  <ds:schemaRefs>
    <ds:schemaRef ds:uri="http://schemas.microsoft.com/sharepoint/v3/contenttype/forms"/>
  </ds:schemaRefs>
</ds:datastoreItem>
</file>

<file path=customXml/itemProps2.xml><?xml version="1.0" encoding="utf-8"?>
<ds:datastoreItem xmlns:ds="http://schemas.openxmlformats.org/officeDocument/2006/customXml" ds:itemID="{D8F0E2C8-A012-4AC2-8E2A-9C10A63BF073}">
  <ds:schemaRefs>
    <ds:schemaRef ds:uri="http://schemas.microsoft.com/office/2006/metadata/properties"/>
    <ds:schemaRef ds:uri="http://schemas.microsoft.com/office/infopath/2007/PartnerControls"/>
    <ds:schemaRef ds:uri="14d1cd1f-9420-46df-ae7d-3014d7ba5746"/>
  </ds:schemaRefs>
</ds:datastoreItem>
</file>

<file path=customXml/itemProps3.xml><?xml version="1.0" encoding="utf-8"?>
<ds:datastoreItem xmlns:ds="http://schemas.openxmlformats.org/officeDocument/2006/customXml" ds:itemID="{0A87BC0A-3E15-4CA8-8D7C-0BC0F1B613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4d1cd1f-9420-46df-ae7d-3014d7ba5746"/>
    <ds:schemaRef ds:uri="2af275fd-da0d-4fc8-8921-01628ad68a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3</TotalTime>
  <Words>292</Words>
  <Application>Microsoft Office PowerPoint</Application>
  <PresentationFormat>Widescreen</PresentationFormat>
  <Paragraphs>16</Paragraphs>
  <Slides>1</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Lato</vt:lpstr>
      <vt:lpstr>Lato Black</vt:lpstr>
      <vt:lpstr>Lato Light</vt:lpstr>
      <vt:lpstr>Segoe UI</vt:lpstr>
      <vt:lpstr>System Font Regular</vt:lpstr>
      <vt:lpstr>1_Office Theme</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nch, Jonathan</dc:creator>
  <cp:lastModifiedBy>Finch, Jonathan</cp:lastModifiedBy>
  <cp:revision>5</cp:revision>
  <dcterms:created xsi:type="dcterms:W3CDTF">2024-07-01T13:16:16Z</dcterms:created>
  <dcterms:modified xsi:type="dcterms:W3CDTF">2025-03-04T13:04: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DBF7F8FEE04B4C9EC4D7C19BAFA81F</vt:lpwstr>
  </property>
  <property fmtid="{D5CDD505-2E9C-101B-9397-08002B2CF9AE}" pid="3" name="MediaServiceImageTags">
    <vt:lpwstr/>
  </property>
</Properties>
</file>